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5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6"/>
  </p:notesMasterIdLst>
  <p:sldIdLst>
    <p:sldId id="256" r:id="rId5"/>
    <p:sldId id="345" r:id="rId6"/>
    <p:sldId id="257" r:id="rId7"/>
    <p:sldId id="346" r:id="rId8"/>
    <p:sldId id="351" r:id="rId9"/>
    <p:sldId id="348" r:id="rId10"/>
    <p:sldId id="349" r:id="rId11"/>
    <p:sldId id="350" r:id="rId12"/>
    <p:sldId id="360" r:id="rId13"/>
    <p:sldId id="354" r:id="rId14"/>
    <p:sldId id="355" r:id="rId15"/>
    <p:sldId id="353" r:id="rId16"/>
    <p:sldId id="364" r:id="rId17"/>
    <p:sldId id="356" r:id="rId18"/>
    <p:sldId id="365" r:id="rId19"/>
    <p:sldId id="363" r:id="rId20"/>
    <p:sldId id="366" r:id="rId21"/>
    <p:sldId id="368" r:id="rId22"/>
    <p:sldId id="367" r:id="rId23"/>
    <p:sldId id="370" r:id="rId24"/>
    <p:sldId id="386" r:id="rId25"/>
    <p:sldId id="388" r:id="rId26"/>
    <p:sldId id="389" r:id="rId27"/>
    <p:sldId id="372" r:id="rId28"/>
    <p:sldId id="374" r:id="rId29"/>
    <p:sldId id="377" r:id="rId30"/>
    <p:sldId id="379" r:id="rId31"/>
    <p:sldId id="392" r:id="rId32"/>
    <p:sldId id="380" r:id="rId33"/>
    <p:sldId id="381" r:id="rId34"/>
    <p:sldId id="344" r:id="rId35"/>
    <p:sldId id="399" r:id="rId36"/>
    <p:sldId id="382" r:id="rId37"/>
    <p:sldId id="398" r:id="rId38"/>
    <p:sldId id="396" r:id="rId39"/>
    <p:sldId id="359" r:id="rId40"/>
    <p:sldId id="369" r:id="rId41"/>
    <p:sldId id="375" r:id="rId42"/>
    <p:sldId id="383" r:id="rId43"/>
    <p:sldId id="390" r:id="rId44"/>
    <p:sldId id="393" r:id="rId45"/>
  </p:sldIdLst>
  <p:sldSz cx="12192000" cy="6858000"/>
  <p:notesSz cx="6858000" cy="9144000"/>
  <p:custDataLst>
    <p:tags r:id="rId4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B6B74A8-DE3D-4C48-977D-CCE79067FDA1}">
          <p14:sldIdLst>
            <p14:sldId id="256"/>
            <p14:sldId id="345"/>
          </p14:sldIdLst>
        </p14:section>
        <p14:section name="Overview" id="{C6DA8938-55DE-4D16-8B36-AF61012037B4}">
          <p14:sldIdLst>
            <p14:sldId id="257"/>
            <p14:sldId id="346"/>
            <p14:sldId id="351"/>
            <p14:sldId id="348"/>
            <p14:sldId id="349"/>
            <p14:sldId id="350"/>
          </p14:sldIdLst>
        </p14:section>
        <p14:section name="Package" id="{6495CC52-2E39-4196-B56C-4ABCC094853F}">
          <p14:sldIdLst>
            <p14:sldId id="360"/>
            <p14:sldId id="354"/>
            <p14:sldId id="355"/>
            <p14:sldId id="353"/>
          </p14:sldIdLst>
        </p14:section>
        <p14:section name="Slug Labelling" id="{D7E04B91-AAAF-48BC-B374-B4CBE965D1C1}">
          <p14:sldIdLst>
            <p14:sldId id="364"/>
            <p14:sldId id="356"/>
          </p14:sldIdLst>
        </p14:section>
        <p14:section name="Flow Recognition" id="{E91469D8-746A-49D1-8AA5-583508F738D8}">
          <p14:sldIdLst>
            <p14:sldId id="365"/>
            <p14:sldId id="363"/>
          </p14:sldIdLst>
        </p14:section>
        <p14:section name="Slug Detection" id="{3164E6C5-5162-463B-9E1D-E107F5FE023B}">
          <p14:sldIdLst>
            <p14:sldId id="366"/>
            <p14:sldId id="368"/>
            <p14:sldId id="367"/>
            <p14:sldId id="370"/>
            <p14:sldId id="386"/>
            <p14:sldId id="388"/>
            <p14:sldId id="389"/>
            <p14:sldId id="372"/>
          </p14:sldIdLst>
        </p14:section>
        <p14:section name="Slug Forecasting" id="{8036D0E1-A1EF-4761-862F-A0B82E21D24A}">
          <p14:sldIdLst>
            <p14:sldId id="374"/>
            <p14:sldId id="377"/>
            <p14:sldId id="379"/>
            <p14:sldId id="392"/>
          </p14:sldIdLst>
        </p14:section>
        <p14:section name="Conclusion" id="{E8DA9A60-9FB0-4CB7-8963-18BB9187BC2D}">
          <p14:sldIdLst>
            <p14:sldId id="380"/>
            <p14:sldId id="381"/>
            <p14:sldId id="344"/>
            <p14:sldId id="399"/>
          </p14:sldIdLst>
        </p14:section>
        <p14:section name="Support - Machine Learning Models" id="{DEEF237F-A0DF-49FF-BFFA-9215B60CD7FF}">
          <p14:sldIdLst>
            <p14:sldId id="382"/>
            <p14:sldId id="398"/>
          </p14:sldIdLst>
        </p14:section>
        <p14:section name="Support - Results" id="{B3CAFCCD-6B82-456C-87B5-ABD27D2937F8}">
          <p14:sldIdLst>
            <p14:sldId id="396"/>
            <p14:sldId id="359"/>
            <p14:sldId id="369"/>
            <p14:sldId id="375"/>
          </p14:sldIdLst>
        </p14:section>
        <p14:section name="Support - ARIMA" id="{C19D5152-3F22-4FDE-929A-FC6732FCD7D8}">
          <p14:sldIdLst>
            <p14:sldId id="383"/>
            <p14:sldId id="390"/>
            <p14:sldId id="39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007" autoAdjust="0"/>
  </p:normalViewPr>
  <p:slideViewPr>
    <p:cSldViewPr snapToGrid="0">
      <p:cViewPr varScale="1">
        <p:scale>
          <a:sx n="82" d="100"/>
          <a:sy n="82" d="100"/>
        </p:scale>
        <p:origin x="581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ata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7.png"/><Relationship Id="rId7" Type="http://schemas.openxmlformats.org/officeDocument/2006/relationships/image" Target="../media/image22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ata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7.png"/><Relationship Id="rId7" Type="http://schemas.openxmlformats.org/officeDocument/2006/relationships/image" Target="../media/image22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ata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rawing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7.png"/><Relationship Id="rId7" Type="http://schemas.openxmlformats.org/officeDocument/2006/relationships/image" Target="../media/image22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rawing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7.png"/><Relationship Id="rId7" Type="http://schemas.openxmlformats.org/officeDocument/2006/relationships/image" Target="../media/image22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rawing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ACEBE5-3D43-4993-A774-C63744239D9C}" type="doc">
      <dgm:prSet loTypeId="urn:microsoft.com/office/officeart/2005/8/layout/radial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449B421-AD07-4A05-9343-7A954BC88C98}">
      <dgm:prSet phldrT="[Text]"/>
      <dgm:spPr>
        <a:solidFill>
          <a:schemeClr val="accent3"/>
        </a:solidFill>
      </dgm:spPr>
      <dgm:t>
        <a:bodyPr/>
        <a:lstStyle/>
        <a:p>
          <a:r>
            <a:rPr lang="en-GB"/>
            <a:t>slugdetection</a:t>
          </a:r>
        </a:p>
      </dgm:t>
    </dgm:pt>
    <dgm:pt modelId="{F013D3CF-1147-4F5D-99CA-7818D00C7BB6}" type="parTrans" cxnId="{26980A3F-5940-4C4D-975B-52DC369458AA}">
      <dgm:prSet/>
      <dgm:spPr/>
      <dgm:t>
        <a:bodyPr/>
        <a:lstStyle/>
        <a:p>
          <a:endParaRPr lang="en-GB"/>
        </a:p>
      </dgm:t>
    </dgm:pt>
    <dgm:pt modelId="{68040DD8-C8FE-4EC9-B168-E975820CE47A}" type="sibTrans" cxnId="{26980A3F-5940-4C4D-975B-52DC369458AA}">
      <dgm:prSet/>
      <dgm:spPr/>
      <dgm:t>
        <a:bodyPr/>
        <a:lstStyle/>
        <a:p>
          <a:endParaRPr lang="en-GB"/>
        </a:p>
      </dgm:t>
    </dgm:pt>
    <dgm:pt modelId="{ECDBBFF5-D603-465B-9E35-703E01624751}">
      <dgm:prSet phldrT="[Text]"/>
      <dgm:spPr>
        <a:solidFill>
          <a:schemeClr val="accent1">
            <a:lumMod val="90000"/>
            <a:lumOff val="10000"/>
          </a:schemeClr>
        </a:solidFill>
      </dgm:spPr>
      <dgm:t>
        <a:bodyPr/>
        <a:lstStyle/>
        <a:p>
          <a:r>
            <a:rPr lang="en-GB" dirty="0"/>
            <a:t>Data Engineering</a:t>
          </a:r>
        </a:p>
      </dgm:t>
    </dgm:pt>
    <dgm:pt modelId="{437C88D5-6411-4E56-87C8-15243396B4B0}" type="parTrans" cxnId="{7AAF43CF-BB22-4A28-A7F4-7C7E2F775E79}">
      <dgm:prSet/>
      <dgm:spPr/>
      <dgm:t>
        <a:bodyPr/>
        <a:lstStyle/>
        <a:p>
          <a:endParaRPr lang="en-GB"/>
        </a:p>
      </dgm:t>
    </dgm:pt>
    <dgm:pt modelId="{F2CAEFF6-996F-49B1-B3C4-D67DB5EB6E07}" type="sibTrans" cxnId="{7AAF43CF-BB22-4A28-A7F4-7C7E2F775E79}">
      <dgm:prSet/>
      <dgm:spPr/>
      <dgm:t>
        <a:bodyPr/>
        <a:lstStyle/>
        <a:p>
          <a:endParaRPr lang="en-GB"/>
        </a:p>
      </dgm:t>
    </dgm:pt>
    <dgm:pt modelId="{36D13B68-5080-4E89-8CE1-FD00A5543453}">
      <dgm:prSet phldrT="[Text]"/>
      <dgm:spPr/>
      <dgm:t>
        <a:bodyPr/>
        <a:lstStyle/>
        <a:p>
          <a:r>
            <a:rPr lang="en-GB" dirty="0"/>
            <a:t>Slug Labelling</a:t>
          </a:r>
        </a:p>
      </dgm:t>
    </dgm:pt>
    <dgm:pt modelId="{78FD4A42-4DF8-43C0-80BE-38A11525F86A}" type="parTrans" cxnId="{FA90E427-F074-4FD7-99FF-273784144229}">
      <dgm:prSet/>
      <dgm:spPr/>
      <dgm:t>
        <a:bodyPr/>
        <a:lstStyle/>
        <a:p>
          <a:endParaRPr lang="en-GB"/>
        </a:p>
      </dgm:t>
    </dgm:pt>
    <dgm:pt modelId="{510345F8-E333-4A2B-85A3-3FE68FC11D79}" type="sibTrans" cxnId="{FA90E427-F074-4FD7-99FF-273784144229}">
      <dgm:prSet/>
      <dgm:spPr/>
      <dgm:t>
        <a:bodyPr/>
        <a:lstStyle/>
        <a:p>
          <a:endParaRPr lang="en-GB"/>
        </a:p>
      </dgm:t>
    </dgm:pt>
    <dgm:pt modelId="{9253B839-30CF-42CC-8FFF-1ED308588A05}">
      <dgm:prSet phldrT="[Text]"/>
      <dgm:spPr/>
      <dgm:t>
        <a:bodyPr/>
        <a:lstStyle/>
        <a:p>
          <a:r>
            <a:rPr lang="en-GB" dirty="0"/>
            <a:t>Slug Detection</a:t>
          </a:r>
        </a:p>
      </dgm:t>
    </dgm:pt>
    <dgm:pt modelId="{684B92A3-92E0-4B52-AFB0-B5F7BB2CC9A9}" type="parTrans" cxnId="{952ADF37-F6FE-43E6-BDE3-E5AD70B3B803}">
      <dgm:prSet/>
      <dgm:spPr/>
      <dgm:t>
        <a:bodyPr/>
        <a:lstStyle/>
        <a:p>
          <a:endParaRPr lang="en-GB"/>
        </a:p>
      </dgm:t>
    </dgm:pt>
    <dgm:pt modelId="{391B569E-716A-4787-AC0B-4F544D6EABBC}" type="sibTrans" cxnId="{952ADF37-F6FE-43E6-BDE3-E5AD70B3B803}">
      <dgm:prSet/>
      <dgm:spPr/>
      <dgm:t>
        <a:bodyPr/>
        <a:lstStyle/>
        <a:p>
          <a:endParaRPr lang="en-GB"/>
        </a:p>
      </dgm:t>
    </dgm:pt>
    <dgm:pt modelId="{DA8DF527-CB29-438B-A5BC-6EE734242962}">
      <dgm:prSet phldrT="[Text]"/>
      <dgm:spPr/>
      <dgm:t>
        <a:bodyPr/>
        <a:lstStyle/>
        <a:p>
          <a:r>
            <a:rPr lang="en-GB" dirty="0"/>
            <a:t>Slug Forecasting</a:t>
          </a:r>
        </a:p>
      </dgm:t>
    </dgm:pt>
    <dgm:pt modelId="{9B8C0505-4797-4BAB-979A-85303281DBB5}" type="parTrans" cxnId="{0DEF2623-1F29-4893-A146-3D8BBE74509A}">
      <dgm:prSet/>
      <dgm:spPr/>
      <dgm:t>
        <a:bodyPr/>
        <a:lstStyle/>
        <a:p>
          <a:endParaRPr lang="en-GB"/>
        </a:p>
      </dgm:t>
    </dgm:pt>
    <dgm:pt modelId="{6A70CE76-375B-4D45-8EC7-E9FF68E0613A}" type="sibTrans" cxnId="{0DEF2623-1F29-4893-A146-3D8BBE74509A}">
      <dgm:prSet/>
      <dgm:spPr/>
      <dgm:t>
        <a:bodyPr/>
        <a:lstStyle/>
        <a:p>
          <a:endParaRPr lang="en-GB"/>
        </a:p>
      </dgm:t>
    </dgm:pt>
    <dgm:pt modelId="{92DB27E0-F7D5-4B42-B5B5-DE4EFA63B2A2}">
      <dgm:prSet phldrT="[Text]"/>
      <dgm:spPr/>
      <dgm:t>
        <a:bodyPr/>
        <a:lstStyle/>
        <a:p>
          <a:r>
            <a:rPr lang="en-GB" dirty="0"/>
            <a:t>Flow Recognition</a:t>
          </a:r>
        </a:p>
      </dgm:t>
    </dgm:pt>
    <dgm:pt modelId="{35EC8EF2-7D52-4CB5-9499-6D7E9ADE25BD}" type="parTrans" cxnId="{25ECC5EA-AB0F-4599-A51E-39FF0DD51FE4}">
      <dgm:prSet/>
      <dgm:spPr/>
      <dgm:t>
        <a:bodyPr/>
        <a:lstStyle/>
        <a:p>
          <a:endParaRPr lang="en-GB"/>
        </a:p>
      </dgm:t>
    </dgm:pt>
    <dgm:pt modelId="{6AE22EE1-951A-42A5-BBD1-6B27BD02CE6E}" type="sibTrans" cxnId="{25ECC5EA-AB0F-4599-A51E-39FF0DD51FE4}">
      <dgm:prSet/>
      <dgm:spPr/>
      <dgm:t>
        <a:bodyPr/>
        <a:lstStyle/>
        <a:p>
          <a:endParaRPr lang="en-GB"/>
        </a:p>
      </dgm:t>
    </dgm:pt>
    <dgm:pt modelId="{7A01420C-DF46-46FB-8EFE-ACB0C527538D}" type="pres">
      <dgm:prSet presAssocID="{58ACEBE5-3D43-4993-A774-C63744239D9C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58F895D-8DB2-4D61-9FC1-784A2EAFA481}" type="pres">
      <dgm:prSet presAssocID="{A449B421-AD07-4A05-9343-7A954BC88C98}" presName="centerShape" presStyleLbl="node0" presStyleIdx="0" presStyleCnt="1"/>
      <dgm:spPr/>
    </dgm:pt>
    <dgm:pt modelId="{12B4B3F3-754E-4260-9342-CB9156D19B40}" type="pres">
      <dgm:prSet presAssocID="{437C88D5-6411-4E56-87C8-15243396B4B0}" presName="parTrans" presStyleLbl="sibTrans2D1" presStyleIdx="0" presStyleCnt="5"/>
      <dgm:spPr/>
    </dgm:pt>
    <dgm:pt modelId="{5D426139-5116-489B-AFC6-FC9E8729CB4B}" type="pres">
      <dgm:prSet presAssocID="{437C88D5-6411-4E56-87C8-15243396B4B0}" presName="connectorText" presStyleLbl="sibTrans2D1" presStyleIdx="0" presStyleCnt="5"/>
      <dgm:spPr/>
    </dgm:pt>
    <dgm:pt modelId="{0BA2A60A-2083-4114-8050-59651AA0322F}" type="pres">
      <dgm:prSet presAssocID="{ECDBBFF5-D603-465B-9E35-703E01624751}" presName="node" presStyleLbl="node1" presStyleIdx="0" presStyleCnt="5">
        <dgm:presLayoutVars>
          <dgm:bulletEnabled val="1"/>
        </dgm:presLayoutVars>
      </dgm:prSet>
      <dgm:spPr/>
    </dgm:pt>
    <dgm:pt modelId="{85DD40F4-393B-4BFF-8C6B-D8657CAE0496}" type="pres">
      <dgm:prSet presAssocID="{78FD4A42-4DF8-43C0-80BE-38A11525F86A}" presName="parTrans" presStyleLbl="sibTrans2D1" presStyleIdx="1" presStyleCnt="5"/>
      <dgm:spPr/>
    </dgm:pt>
    <dgm:pt modelId="{40EE840D-8D7A-4DEE-9C3C-CE9F398E2128}" type="pres">
      <dgm:prSet presAssocID="{78FD4A42-4DF8-43C0-80BE-38A11525F86A}" presName="connectorText" presStyleLbl="sibTrans2D1" presStyleIdx="1" presStyleCnt="5"/>
      <dgm:spPr/>
    </dgm:pt>
    <dgm:pt modelId="{4494EE90-2CFB-4FB1-A0BA-36E57DE3FE34}" type="pres">
      <dgm:prSet presAssocID="{36D13B68-5080-4E89-8CE1-FD00A5543453}" presName="node" presStyleLbl="node1" presStyleIdx="1" presStyleCnt="5">
        <dgm:presLayoutVars>
          <dgm:bulletEnabled val="1"/>
        </dgm:presLayoutVars>
      </dgm:prSet>
      <dgm:spPr/>
    </dgm:pt>
    <dgm:pt modelId="{6B08BE6E-5ED3-46B7-ACA7-36F09BFED785}" type="pres">
      <dgm:prSet presAssocID="{35EC8EF2-7D52-4CB5-9499-6D7E9ADE25BD}" presName="parTrans" presStyleLbl="sibTrans2D1" presStyleIdx="2" presStyleCnt="5"/>
      <dgm:spPr/>
    </dgm:pt>
    <dgm:pt modelId="{898CD711-4909-4056-9734-68FE8F545AA8}" type="pres">
      <dgm:prSet presAssocID="{35EC8EF2-7D52-4CB5-9499-6D7E9ADE25BD}" presName="connectorText" presStyleLbl="sibTrans2D1" presStyleIdx="2" presStyleCnt="5"/>
      <dgm:spPr/>
    </dgm:pt>
    <dgm:pt modelId="{43B994A7-3F6D-46CB-A2BF-47BF50DFCF32}" type="pres">
      <dgm:prSet presAssocID="{92DB27E0-F7D5-4B42-B5B5-DE4EFA63B2A2}" presName="node" presStyleLbl="node1" presStyleIdx="2" presStyleCnt="5">
        <dgm:presLayoutVars>
          <dgm:bulletEnabled val="1"/>
        </dgm:presLayoutVars>
      </dgm:prSet>
      <dgm:spPr/>
    </dgm:pt>
    <dgm:pt modelId="{99690DC1-9471-418E-A968-03303C581A07}" type="pres">
      <dgm:prSet presAssocID="{684B92A3-92E0-4B52-AFB0-B5F7BB2CC9A9}" presName="parTrans" presStyleLbl="sibTrans2D1" presStyleIdx="3" presStyleCnt="5"/>
      <dgm:spPr/>
    </dgm:pt>
    <dgm:pt modelId="{85D3F386-0E74-4E3D-B050-607AB9BAED9F}" type="pres">
      <dgm:prSet presAssocID="{684B92A3-92E0-4B52-AFB0-B5F7BB2CC9A9}" presName="connectorText" presStyleLbl="sibTrans2D1" presStyleIdx="3" presStyleCnt="5"/>
      <dgm:spPr/>
    </dgm:pt>
    <dgm:pt modelId="{2829C871-D7C0-46B0-B252-8CDBA7FFF94A}" type="pres">
      <dgm:prSet presAssocID="{9253B839-30CF-42CC-8FFF-1ED308588A05}" presName="node" presStyleLbl="node1" presStyleIdx="3" presStyleCnt="5">
        <dgm:presLayoutVars>
          <dgm:bulletEnabled val="1"/>
        </dgm:presLayoutVars>
      </dgm:prSet>
      <dgm:spPr/>
    </dgm:pt>
    <dgm:pt modelId="{8B17D0B5-9218-43B3-818D-4F807CE80CC4}" type="pres">
      <dgm:prSet presAssocID="{9B8C0505-4797-4BAB-979A-85303281DBB5}" presName="parTrans" presStyleLbl="sibTrans2D1" presStyleIdx="4" presStyleCnt="5"/>
      <dgm:spPr/>
    </dgm:pt>
    <dgm:pt modelId="{5BE6BDB0-E53A-4D86-ACFD-9336C73C3947}" type="pres">
      <dgm:prSet presAssocID="{9B8C0505-4797-4BAB-979A-85303281DBB5}" presName="connectorText" presStyleLbl="sibTrans2D1" presStyleIdx="4" presStyleCnt="5"/>
      <dgm:spPr/>
    </dgm:pt>
    <dgm:pt modelId="{B825666B-0F70-44C7-B3A5-B67865A391FA}" type="pres">
      <dgm:prSet presAssocID="{DA8DF527-CB29-438B-A5BC-6EE734242962}" presName="node" presStyleLbl="node1" presStyleIdx="4" presStyleCnt="5">
        <dgm:presLayoutVars>
          <dgm:bulletEnabled val="1"/>
        </dgm:presLayoutVars>
      </dgm:prSet>
      <dgm:spPr/>
    </dgm:pt>
  </dgm:ptLst>
  <dgm:cxnLst>
    <dgm:cxn modelId="{40277A01-EE9E-43EB-A2FC-7C8528E9812A}" type="presOf" srcId="{684B92A3-92E0-4B52-AFB0-B5F7BB2CC9A9}" destId="{99690DC1-9471-418E-A968-03303C581A07}" srcOrd="0" destOrd="0" presId="urn:microsoft.com/office/officeart/2005/8/layout/radial5"/>
    <dgm:cxn modelId="{30B05407-C5D9-4F59-A497-FCFBAD1D4C79}" type="presOf" srcId="{437C88D5-6411-4E56-87C8-15243396B4B0}" destId="{5D426139-5116-489B-AFC6-FC9E8729CB4B}" srcOrd="1" destOrd="0" presId="urn:microsoft.com/office/officeart/2005/8/layout/radial5"/>
    <dgm:cxn modelId="{F235710B-F9CC-4E07-A498-CB0A2E933CBA}" type="presOf" srcId="{35EC8EF2-7D52-4CB5-9499-6D7E9ADE25BD}" destId="{898CD711-4909-4056-9734-68FE8F545AA8}" srcOrd="1" destOrd="0" presId="urn:microsoft.com/office/officeart/2005/8/layout/radial5"/>
    <dgm:cxn modelId="{0DEF2623-1F29-4893-A146-3D8BBE74509A}" srcId="{A449B421-AD07-4A05-9343-7A954BC88C98}" destId="{DA8DF527-CB29-438B-A5BC-6EE734242962}" srcOrd="4" destOrd="0" parTransId="{9B8C0505-4797-4BAB-979A-85303281DBB5}" sibTransId="{6A70CE76-375B-4D45-8EC7-E9FF68E0613A}"/>
    <dgm:cxn modelId="{187E5827-8611-4377-9409-1D7D7A22772E}" type="presOf" srcId="{92DB27E0-F7D5-4B42-B5B5-DE4EFA63B2A2}" destId="{43B994A7-3F6D-46CB-A2BF-47BF50DFCF32}" srcOrd="0" destOrd="0" presId="urn:microsoft.com/office/officeart/2005/8/layout/radial5"/>
    <dgm:cxn modelId="{FA90E427-F074-4FD7-99FF-273784144229}" srcId="{A449B421-AD07-4A05-9343-7A954BC88C98}" destId="{36D13B68-5080-4E89-8CE1-FD00A5543453}" srcOrd="1" destOrd="0" parTransId="{78FD4A42-4DF8-43C0-80BE-38A11525F86A}" sibTransId="{510345F8-E333-4A2B-85A3-3FE68FC11D79}"/>
    <dgm:cxn modelId="{078FB736-D433-4E27-9E9F-2870286302E0}" type="presOf" srcId="{78FD4A42-4DF8-43C0-80BE-38A11525F86A}" destId="{85DD40F4-393B-4BFF-8C6B-D8657CAE0496}" srcOrd="0" destOrd="0" presId="urn:microsoft.com/office/officeart/2005/8/layout/radial5"/>
    <dgm:cxn modelId="{952ADF37-F6FE-43E6-BDE3-E5AD70B3B803}" srcId="{A449B421-AD07-4A05-9343-7A954BC88C98}" destId="{9253B839-30CF-42CC-8FFF-1ED308588A05}" srcOrd="3" destOrd="0" parTransId="{684B92A3-92E0-4B52-AFB0-B5F7BB2CC9A9}" sibTransId="{391B569E-716A-4787-AC0B-4F544D6EABBC}"/>
    <dgm:cxn modelId="{2F7E3F3C-40DB-4F65-A7BB-306884275327}" type="presOf" srcId="{78FD4A42-4DF8-43C0-80BE-38A11525F86A}" destId="{40EE840D-8D7A-4DEE-9C3C-CE9F398E2128}" srcOrd="1" destOrd="0" presId="urn:microsoft.com/office/officeart/2005/8/layout/radial5"/>
    <dgm:cxn modelId="{26980A3F-5940-4C4D-975B-52DC369458AA}" srcId="{58ACEBE5-3D43-4993-A774-C63744239D9C}" destId="{A449B421-AD07-4A05-9343-7A954BC88C98}" srcOrd="0" destOrd="0" parTransId="{F013D3CF-1147-4F5D-99CA-7818D00C7BB6}" sibTransId="{68040DD8-C8FE-4EC9-B168-E975820CE47A}"/>
    <dgm:cxn modelId="{C0AFFB5A-B11D-4BD1-9B26-FA7F94388F3F}" type="presOf" srcId="{35EC8EF2-7D52-4CB5-9499-6D7E9ADE25BD}" destId="{6B08BE6E-5ED3-46B7-ACA7-36F09BFED785}" srcOrd="0" destOrd="0" presId="urn:microsoft.com/office/officeart/2005/8/layout/radial5"/>
    <dgm:cxn modelId="{B9EE767C-4BBB-4788-9D53-A24D8CA4861E}" type="presOf" srcId="{58ACEBE5-3D43-4993-A774-C63744239D9C}" destId="{7A01420C-DF46-46FB-8EFE-ACB0C527538D}" srcOrd="0" destOrd="0" presId="urn:microsoft.com/office/officeart/2005/8/layout/radial5"/>
    <dgm:cxn modelId="{41C1F59E-8BF7-4727-A87B-2F56C331E5FE}" type="presOf" srcId="{DA8DF527-CB29-438B-A5BC-6EE734242962}" destId="{B825666B-0F70-44C7-B3A5-B67865A391FA}" srcOrd="0" destOrd="0" presId="urn:microsoft.com/office/officeart/2005/8/layout/radial5"/>
    <dgm:cxn modelId="{9BBF15AE-443F-4C76-A0DF-67DE91CECB2D}" type="presOf" srcId="{ECDBBFF5-D603-465B-9E35-703E01624751}" destId="{0BA2A60A-2083-4114-8050-59651AA0322F}" srcOrd="0" destOrd="0" presId="urn:microsoft.com/office/officeart/2005/8/layout/radial5"/>
    <dgm:cxn modelId="{8FC6FCC9-741E-48C6-B08D-F4E6A51B782D}" type="presOf" srcId="{A449B421-AD07-4A05-9343-7A954BC88C98}" destId="{358F895D-8DB2-4D61-9FC1-784A2EAFA481}" srcOrd="0" destOrd="0" presId="urn:microsoft.com/office/officeart/2005/8/layout/radial5"/>
    <dgm:cxn modelId="{207F48CE-FC7D-4EC5-B6A1-516FAC0AFC97}" type="presOf" srcId="{684B92A3-92E0-4B52-AFB0-B5F7BB2CC9A9}" destId="{85D3F386-0E74-4E3D-B050-607AB9BAED9F}" srcOrd="1" destOrd="0" presId="urn:microsoft.com/office/officeart/2005/8/layout/radial5"/>
    <dgm:cxn modelId="{7AAF43CF-BB22-4A28-A7F4-7C7E2F775E79}" srcId="{A449B421-AD07-4A05-9343-7A954BC88C98}" destId="{ECDBBFF5-D603-465B-9E35-703E01624751}" srcOrd="0" destOrd="0" parTransId="{437C88D5-6411-4E56-87C8-15243396B4B0}" sibTransId="{F2CAEFF6-996F-49B1-B3C4-D67DB5EB6E07}"/>
    <dgm:cxn modelId="{37F4E0D5-A53C-4FEC-BFA6-96ED59A7D888}" type="presOf" srcId="{437C88D5-6411-4E56-87C8-15243396B4B0}" destId="{12B4B3F3-754E-4260-9342-CB9156D19B40}" srcOrd="0" destOrd="0" presId="urn:microsoft.com/office/officeart/2005/8/layout/radial5"/>
    <dgm:cxn modelId="{4D8A36DC-76C4-4F3A-AB78-D4C7E3AEE11D}" type="presOf" srcId="{9253B839-30CF-42CC-8FFF-1ED308588A05}" destId="{2829C871-D7C0-46B0-B252-8CDBA7FFF94A}" srcOrd="0" destOrd="0" presId="urn:microsoft.com/office/officeart/2005/8/layout/radial5"/>
    <dgm:cxn modelId="{B57787DF-D5E2-40FB-8CA6-F965CF3D6E32}" type="presOf" srcId="{9B8C0505-4797-4BAB-979A-85303281DBB5}" destId="{5BE6BDB0-E53A-4D86-ACFD-9336C73C3947}" srcOrd="1" destOrd="0" presId="urn:microsoft.com/office/officeart/2005/8/layout/radial5"/>
    <dgm:cxn modelId="{41C4BDE1-87DE-442B-9476-BAB62AD34D9A}" type="presOf" srcId="{9B8C0505-4797-4BAB-979A-85303281DBB5}" destId="{8B17D0B5-9218-43B3-818D-4F807CE80CC4}" srcOrd="0" destOrd="0" presId="urn:microsoft.com/office/officeart/2005/8/layout/radial5"/>
    <dgm:cxn modelId="{25ECC5EA-AB0F-4599-A51E-39FF0DD51FE4}" srcId="{A449B421-AD07-4A05-9343-7A954BC88C98}" destId="{92DB27E0-F7D5-4B42-B5B5-DE4EFA63B2A2}" srcOrd="2" destOrd="0" parTransId="{35EC8EF2-7D52-4CB5-9499-6D7E9ADE25BD}" sibTransId="{6AE22EE1-951A-42A5-BBD1-6B27BD02CE6E}"/>
    <dgm:cxn modelId="{B2CC6FFF-1B3B-44AC-861F-35FE785F3696}" type="presOf" srcId="{36D13B68-5080-4E89-8CE1-FD00A5543453}" destId="{4494EE90-2CFB-4FB1-A0BA-36E57DE3FE34}" srcOrd="0" destOrd="0" presId="urn:microsoft.com/office/officeart/2005/8/layout/radial5"/>
    <dgm:cxn modelId="{B6AAC31C-9B06-40C4-9B9B-E8339BA15F9F}" type="presParOf" srcId="{7A01420C-DF46-46FB-8EFE-ACB0C527538D}" destId="{358F895D-8DB2-4D61-9FC1-784A2EAFA481}" srcOrd="0" destOrd="0" presId="urn:microsoft.com/office/officeart/2005/8/layout/radial5"/>
    <dgm:cxn modelId="{7B452330-1513-437C-A8D1-8CE7FE5A5673}" type="presParOf" srcId="{7A01420C-DF46-46FB-8EFE-ACB0C527538D}" destId="{12B4B3F3-754E-4260-9342-CB9156D19B40}" srcOrd="1" destOrd="0" presId="urn:microsoft.com/office/officeart/2005/8/layout/radial5"/>
    <dgm:cxn modelId="{BDD30D73-DD9D-4082-AEC0-238D2A926CB1}" type="presParOf" srcId="{12B4B3F3-754E-4260-9342-CB9156D19B40}" destId="{5D426139-5116-489B-AFC6-FC9E8729CB4B}" srcOrd="0" destOrd="0" presId="urn:microsoft.com/office/officeart/2005/8/layout/radial5"/>
    <dgm:cxn modelId="{75F40FCD-B3D5-42C4-B5EC-A5537BFFBE48}" type="presParOf" srcId="{7A01420C-DF46-46FB-8EFE-ACB0C527538D}" destId="{0BA2A60A-2083-4114-8050-59651AA0322F}" srcOrd="2" destOrd="0" presId="urn:microsoft.com/office/officeart/2005/8/layout/radial5"/>
    <dgm:cxn modelId="{982DBD24-E4C8-43AD-817A-BCD7639DA82F}" type="presParOf" srcId="{7A01420C-DF46-46FB-8EFE-ACB0C527538D}" destId="{85DD40F4-393B-4BFF-8C6B-D8657CAE0496}" srcOrd="3" destOrd="0" presId="urn:microsoft.com/office/officeart/2005/8/layout/radial5"/>
    <dgm:cxn modelId="{E8E59B10-A37B-4494-A18E-DF318EED6EF8}" type="presParOf" srcId="{85DD40F4-393B-4BFF-8C6B-D8657CAE0496}" destId="{40EE840D-8D7A-4DEE-9C3C-CE9F398E2128}" srcOrd="0" destOrd="0" presId="urn:microsoft.com/office/officeart/2005/8/layout/radial5"/>
    <dgm:cxn modelId="{F86FB10F-19F3-4BDF-A880-0CD5814351E9}" type="presParOf" srcId="{7A01420C-DF46-46FB-8EFE-ACB0C527538D}" destId="{4494EE90-2CFB-4FB1-A0BA-36E57DE3FE34}" srcOrd="4" destOrd="0" presId="urn:microsoft.com/office/officeart/2005/8/layout/radial5"/>
    <dgm:cxn modelId="{13349C09-0BD5-46DB-935D-EA478C3FB5CC}" type="presParOf" srcId="{7A01420C-DF46-46FB-8EFE-ACB0C527538D}" destId="{6B08BE6E-5ED3-46B7-ACA7-36F09BFED785}" srcOrd="5" destOrd="0" presId="urn:microsoft.com/office/officeart/2005/8/layout/radial5"/>
    <dgm:cxn modelId="{784673DA-B100-43AD-BBA5-BDE0A9C5EBD2}" type="presParOf" srcId="{6B08BE6E-5ED3-46B7-ACA7-36F09BFED785}" destId="{898CD711-4909-4056-9734-68FE8F545AA8}" srcOrd="0" destOrd="0" presId="urn:microsoft.com/office/officeart/2005/8/layout/radial5"/>
    <dgm:cxn modelId="{167FC0D4-9A8D-4585-B222-AF50CC190933}" type="presParOf" srcId="{7A01420C-DF46-46FB-8EFE-ACB0C527538D}" destId="{43B994A7-3F6D-46CB-A2BF-47BF50DFCF32}" srcOrd="6" destOrd="0" presId="urn:microsoft.com/office/officeart/2005/8/layout/radial5"/>
    <dgm:cxn modelId="{0C6C2BC4-8772-4A17-B5E7-0635185BA917}" type="presParOf" srcId="{7A01420C-DF46-46FB-8EFE-ACB0C527538D}" destId="{99690DC1-9471-418E-A968-03303C581A07}" srcOrd="7" destOrd="0" presId="urn:microsoft.com/office/officeart/2005/8/layout/radial5"/>
    <dgm:cxn modelId="{45376ADE-49C4-4FB7-ACD0-65EFDB062033}" type="presParOf" srcId="{99690DC1-9471-418E-A968-03303C581A07}" destId="{85D3F386-0E74-4E3D-B050-607AB9BAED9F}" srcOrd="0" destOrd="0" presId="urn:microsoft.com/office/officeart/2005/8/layout/radial5"/>
    <dgm:cxn modelId="{B5388531-B77F-49F5-8A38-49AF50575564}" type="presParOf" srcId="{7A01420C-DF46-46FB-8EFE-ACB0C527538D}" destId="{2829C871-D7C0-46B0-B252-8CDBA7FFF94A}" srcOrd="8" destOrd="0" presId="urn:microsoft.com/office/officeart/2005/8/layout/radial5"/>
    <dgm:cxn modelId="{72E41E2B-2678-4BE0-B794-2E35B784D039}" type="presParOf" srcId="{7A01420C-DF46-46FB-8EFE-ACB0C527538D}" destId="{8B17D0B5-9218-43B3-818D-4F807CE80CC4}" srcOrd="9" destOrd="0" presId="urn:microsoft.com/office/officeart/2005/8/layout/radial5"/>
    <dgm:cxn modelId="{E8A91122-D968-4327-AE85-995E13E40D7D}" type="presParOf" srcId="{8B17D0B5-9218-43B3-818D-4F807CE80CC4}" destId="{5BE6BDB0-E53A-4D86-ACFD-9336C73C3947}" srcOrd="0" destOrd="0" presId="urn:microsoft.com/office/officeart/2005/8/layout/radial5"/>
    <dgm:cxn modelId="{31F144A9-3A03-42DA-A834-4ADD56FF81C9}" type="presParOf" srcId="{7A01420C-DF46-46FB-8EFE-ACB0C527538D}" destId="{B825666B-0F70-44C7-B3A5-B67865A391FA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8ACEBE5-3D43-4993-A774-C63744239D9C}" type="doc">
      <dgm:prSet loTypeId="urn:microsoft.com/office/officeart/2005/8/layout/radial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449B421-AD07-4A05-9343-7A954BC88C98}">
      <dgm:prSet phldrT="[Text]"/>
      <dgm:spPr>
        <a:solidFill>
          <a:schemeClr val="accent3"/>
        </a:solidFill>
      </dgm:spPr>
      <dgm:t>
        <a:bodyPr/>
        <a:lstStyle/>
        <a:p>
          <a:r>
            <a:rPr lang="en-GB"/>
            <a:t>slugdetection</a:t>
          </a:r>
        </a:p>
      </dgm:t>
    </dgm:pt>
    <dgm:pt modelId="{F013D3CF-1147-4F5D-99CA-7818D00C7BB6}" type="parTrans" cxnId="{26980A3F-5940-4C4D-975B-52DC369458AA}">
      <dgm:prSet/>
      <dgm:spPr/>
      <dgm:t>
        <a:bodyPr/>
        <a:lstStyle/>
        <a:p>
          <a:endParaRPr lang="en-GB"/>
        </a:p>
      </dgm:t>
    </dgm:pt>
    <dgm:pt modelId="{68040DD8-C8FE-4EC9-B168-E975820CE47A}" type="sibTrans" cxnId="{26980A3F-5940-4C4D-975B-52DC369458AA}">
      <dgm:prSet/>
      <dgm:spPr/>
      <dgm:t>
        <a:bodyPr/>
        <a:lstStyle/>
        <a:p>
          <a:endParaRPr lang="en-GB"/>
        </a:p>
      </dgm:t>
    </dgm:pt>
    <dgm:pt modelId="{ECDBBFF5-D603-465B-9E35-703E01624751}">
      <dgm:prSet phldrT="[Text]"/>
      <dgm:spPr/>
      <dgm:t>
        <a:bodyPr/>
        <a:lstStyle/>
        <a:p>
          <a:r>
            <a:rPr lang="en-GB" dirty="0"/>
            <a:t>Data Engineering</a:t>
          </a:r>
        </a:p>
      </dgm:t>
    </dgm:pt>
    <dgm:pt modelId="{437C88D5-6411-4E56-87C8-15243396B4B0}" type="parTrans" cxnId="{7AAF43CF-BB22-4A28-A7F4-7C7E2F775E79}">
      <dgm:prSet/>
      <dgm:spPr/>
      <dgm:t>
        <a:bodyPr/>
        <a:lstStyle/>
        <a:p>
          <a:endParaRPr lang="en-GB"/>
        </a:p>
      </dgm:t>
    </dgm:pt>
    <dgm:pt modelId="{F2CAEFF6-996F-49B1-B3C4-D67DB5EB6E07}" type="sibTrans" cxnId="{7AAF43CF-BB22-4A28-A7F4-7C7E2F775E79}">
      <dgm:prSet/>
      <dgm:spPr/>
      <dgm:t>
        <a:bodyPr/>
        <a:lstStyle/>
        <a:p>
          <a:endParaRPr lang="en-GB"/>
        </a:p>
      </dgm:t>
    </dgm:pt>
    <dgm:pt modelId="{36D13B68-5080-4E89-8CE1-FD00A5543453}">
      <dgm:prSet phldrT="[Text]"/>
      <dgm:spPr/>
      <dgm:t>
        <a:bodyPr/>
        <a:lstStyle/>
        <a:p>
          <a:r>
            <a:rPr lang="en-GB" dirty="0"/>
            <a:t>Slug Labelling</a:t>
          </a:r>
        </a:p>
      </dgm:t>
    </dgm:pt>
    <dgm:pt modelId="{78FD4A42-4DF8-43C0-80BE-38A11525F86A}" type="parTrans" cxnId="{FA90E427-F074-4FD7-99FF-273784144229}">
      <dgm:prSet/>
      <dgm:spPr/>
      <dgm:t>
        <a:bodyPr/>
        <a:lstStyle/>
        <a:p>
          <a:endParaRPr lang="en-GB"/>
        </a:p>
      </dgm:t>
    </dgm:pt>
    <dgm:pt modelId="{510345F8-E333-4A2B-85A3-3FE68FC11D79}" type="sibTrans" cxnId="{FA90E427-F074-4FD7-99FF-273784144229}">
      <dgm:prSet/>
      <dgm:spPr/>
      <dgm:t>
        <a:bodyPr/>
        <a:lstStyle/>
        <a:p>
          <a:endParaRPr lang="en-GB"/>
        </a:p>
      </dgm:t>
    </dgm:pt>
    <dgm:pt modelId="{9253B839-30CF-42CC-8FFF-1ED308588A05}">
      <dgm:prSet phldrT="[Text]"/>
      <dgm:spPr/>
      <dgm:t>
        <a:bodyPr/>
        <a:lstStyle/>
        <a:p>
          <a:r>
            <a:rPr lang="en-GB" dirty="0"/>
            <a:t>Slug Detection</a:t>
          </a:r>
        </a:p>
      </dgm:t>
    </dgm:pt>
    <dgm:pt modelId="{684B92A3-92E0-4B52-AFB0-B5F7BB2CC9A9}" type="parTrans" cxnId="{952ADF37-F6FE-43E6-BDE3-E5AD70B3B803}">
      <dgm:prSet/>
      <dgm:spPr/>
      <dgm:t>
        <a:bodyPr/>
        <a:lstStyle/>
        <a:p>
          <a:endParaRPr lang="en-GB"/>
        </a:p>
      </dgm:t>
    </dgm:pt>
    <dgm:pt modelId="{391B569E-716A-4787-AC0B-4F544D6EABBC}" type="sibTrans" cxnId="{952ADF37-F6FE-43E6-BDE3-E5AD70B3B803}">
      <dgm:prSet/>
      <dgm:spPr/>
      <dgm:t>
        <a:bodyPr/>
        <a:lstStyle/>
        <a:p>
          <a:endParaRPr lang="en-GB"/>
        </a:p>
      </dgm:t>
    </dgm:pt>
    <dgm:pt modelId="{DA8DF527-CB29-438B-A5BC-6EE734242962}">
      <dgm:prSet phldrT="[Text]"/>
      <dgm:spPr/>
      <dgm:t>
        <a:bodyPr/>
        <a:lstStyle/>
        <a:p>
          <a:r>
            <a:rPr lang="en-GB" dirty="0"/>
            <a:t>Slug Forecasting</a:t>
          </a:r>
        </a:p>
      </dgm:t>
    </dgm:pt>
    <dgm:pt modelId="{9B8C0505-4797-4BAB-979A-85303281DBB5}" type="parTrans" cxnId="{0DEF2623-1F29-4893-A146-3D8BBE74509A}">
      <dgm:prSet/>
      <dgm:spPr/>
      <dgm:t>
        <a:bodyPr/>
        <a:lstStyle/>
        <a:p>
          <a:endParaRPr lang="en-GB"/>
        </a:p>
      </dgm:t>
    </dgm:pt>
    <dgm:pt modelId="{6A70CE76-375B-4D45-8EC7-E9FF68E0613A}" type="sibTrans" cxnId="{0DEF2623-1F29-4893-A146-3D8BBE74509A}">
      <dgm:prSet/>
      <dgm:spPr/>
      <dgm:t>
        <a:bodyPr/>
        <a:lstStyle/>
        <a:p>
          <a:endParaRPr lang="en-GB"/>
        </a:p>
      </dgm:t>
    </dgm:pt>
    <dgm:pt modelId="{92DB27E0-F7D5-4B42-B5B5-DE4EFA63B2A2}">
      <dgm:prSet phldrT="[Text]"/>
      <dgm:spPr/>
      <dgm:t>
        <a:bodyPr/>
        <a:lstStyle/>
        <a:p>
          <a:r>
            <a:rPr lang="en-GB" dirty="0"/>
            <a:t>Flow Recognition</a:t>
          </a:r>
        </a:p>
      </dgm:t>
    </dgm:pt>
    <dgm:pt modelId="{35EC8EF2-7D52-4CB5-9499-6D7E9ADE25BD}" type="parTrans" cxnId="{25ECC5EA-AB0F-4599-A51E-39FF0DD51FE4}">
      <dgm:prSet/>
      <dgm:spPr/>
      <dgm:t>
        <a:bodyPr/>
        <a:lstStyle/>
        <a:p>
          <a:endParaRPr lang="en-GB"/>
        </a:p>
      </dgm:t>
    </dgm:pt>
    <dgm:pt modelId="{6AE22EE1-951A-42A5-BBD1-6B27BD02CE6E}" type="sibTrans" cxnId="{25ECC5EA-AB0F-4599-A51E-39FF0DD51FE4}">
      <dgm:prSet/>
      <dgm:spPr/>
      <dgm:t>
        <a:bodyPr/>
        <a:lstStyle/>
        <a:p>
          <a:endParaRPr lang="en-GB"/>
        </a:p>
      </dgm:t>
    </dgm:pt>
    <dgm:pt modelId="{7A01420C-DF46-46FB-8EFE-ACB0C527538D}" type="pres">
      <dgm:prSet presAssocID="{58ACEBE5-3D43-4993-A774-C63744239D9C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58F895D-8DB2-4D61-9FC1-784A2EAFA481}" type="pres">
      <dgm:prSet presAssocID="{A449B421-AD07-4A05-9343-7A954BC88C98}" presName="centerShape" presStyleLbl="node0" presStyleIdx="0" presStyleCnt="1"/>
      <dgm:spPr/>
    </dgm:pt>
    <dgm:pt modelId="{12B4B3F3-754E-4260-9342-CB9156D19B40}" type="pres">
      <dgm:prSet presAssocID="{437C88D5-6411-4E56-87C8-15243396B4B0}" presName="parTrans" presStyleLbl="sibTrans2D1" presStyleIdx="0" presStyleCnt="5"/>
      <dgm:spPr/>
    </dgm:pt>
    <dgm:pt modelId="{5D426139-5116-489B-AFC6-FC9E8729CB4B}" type="pres">
      <dgm:prSet presAssocID="{437C88D5-6411-4E56-87C8-15243396B4B0}" presName="connectorText" presStyleLbl="sibTrans2D1" presStyleIdx="0" presStyleCnt="5"/>
      <dgm:spPr/>
    </dgm:pt>
    <dgm:pt modelId="{0BA2A60A-2083-4114-8050-59651AA0322F}" type="pres">
      <dgm:prSet presAssocID="{ECDBBFF5-D603-465B-9E35-703E01624751}" presName="node" presStyleLbl="node1" presStyleIdx="0" presStyleCnt="5">
        <dgm:presLayoutVars>
          <dgm:bulletEnabled val="1"/>
        </dgm:presLayoutVars>
      </dgm:prSet>
      <dgm:spPr/>
    </dgm:pt>
    <dgm:pt modelId="{85DD40F4-393B-4BFF-8C6B-D8657CAE0496}" type="pres">
      <dgm:prSet presAssocID="{78FD4A42-4DF8-43C0-80BE-38A11525F86A}" presName="parTrans" presStyleLbl="sibTrans2D1" presStyleIdx="1" presStyleCnt="5" custLinFactNeighborX="1" custLinFactNeighborY="-14334"/>
      <dgm:spPr/>
    </dgm:pt>
    <dgm:pt modelId="{40EE840D-8D7A-4DEE-9C3C-CE9F398E2128}" type="pres">
      <dgm:prSet presAssocID="{78FD4A42-4DF8-43C0-80BE-38A11525F86A}" presName="connectorText" presStyleLbl="sibTrans2D1" presStyleIdx="1" presStyleCnt="5"/>
      <dgm:spPr/>
    </dgm:pt>
    <dgm:pt modelId="{4494EE90-2CFB-4FB1-A0BA-36E57DE3FE34}" type="pres">
      <dgm:prSet presAssocID="{36D13B68-5080-4E89-8CE1-FD00A5543453}" presName="node" presStyleLbl="node1" presStyleIdx="1" presStyleCnt="5">
        <dgm:presLayoutVars>
          <dgm:bulletEnabled val="1"/>
        </dgm:presLayoutVars>
      </dgm:prSet>
      <dgm:spPr/>
    </dgm:pt>
    <dgm:pt modelId="{6B08BE6E-5ED3-46B7-ACA7-36F09BFED785}" type="pres">
      <dgm:prSet presAssocID="{35EC8EF2-7D52-4CB5-9499-6D7E9ADE25BD}" presName="parTrans" presStyleLbl="sibTrans2D1" presStyleIdx="2" presStyleCnt="5"/>
      <dgm:spPr/>
    </dgm:pt>
    <dgm:pt modelId="{898CD711-4909-4056-9734-68FE8F545AA8}" type="pres">
      <dgm:prSet presAssocID="{35EC8EF2-7D52-4CB5-9499-6D7E9ADE25BD}" presName="connectorText" presStyleLbl="sibTrans2D1" presStyleIdx="2" presStyleCnt="5"/>
      <dgm:spPr/>
    </dgm:pt>
    <dgm:pt modelId="{43B994A7-3F6D-46CB-A2BF-47BF50DFCF32}" type="pres">
      <dgm:prSet presAssocID="{92DB27E0-F7D5-4B42-B5B5-DE4EFA63B2A2}" presName="node" presStyleLbl="node1" presStyleIdx="2" presStyleCnt="5">
        <dgm:presLayoutVars>
          <dgm:bulletEnabled val="1"/>
        </dgm:presLayoutVars>
      </dgm:prSet>
      <dgm:spPr/>
    </dgm:pt>
    <dgm:pt modelId="{99690DC1-9471-418E-A968-03303C581A07}" type="pres">
      <dgm:prSet presAssocID="{684B92A3-92E0-4B52-AFB0-B5F7BB2CC9A9}" presName="parTrans" presStyleLbl="sibTrans2D1" presStyleIdx="3" presStyleCnt="5"/>
      <dgm:spPr/>
    </dgm:pt>
    <dgm:pt modelId="{85D3F386-0E74-4E3D-B050-607AB9BAED9F}" type="pres">
      <dgm:prSet presAssocID="{684B92A3-92E0-4B52-AFB0-B5F7BB2CC9A9}" presName="connectorText" presStyleLbl="sibTrans2D1" presStyleIdx="3" presStyleCnt="5"/>
      <dgm:spPr/>
    </dgm:pt>
    <dgm:pt modelId="{2829C871-D7C0-46B0-B252-8CDBA7FFF94A}" type="pres">
      <dgm:prSet presAssocID="{9253B839-30CF-42CC-8FFF-1ED308588A05}" presName="node" presStyleLbl="node1" presStyleIdx="3" presStyleCnt="5">
        <dgm:presLayoutVars>
          <dgm:bulletEnabled val="1"/>
        </dgm:presLayoutVars>
      </dgm:prSet>
      <dgm:spPr/>
    </dgm:pt>
    <dgm:pt modelId="{8B17D0B5-9218-43B3-818D-4F807CE80CC4}" type="pres">
      <dgm:prSet presAssocID="{9B8C0505-4797-4BAB-979A-85303281DBB5}" presName="parTrans" presStyleLbl="sibTrans2D1" presStyleIdx="4" presStyleCnt="5"/>
      <dgm:spPr/>
    </dgm:pt>
    <dgm:pt modelId="{5BE6BDB0-E53A-4D86-ACFD-9336C73C3947}" type="pres">
      <dgm:prSet presAssocID="{9B8C0505-4797-4BAB-979A-85303281DBB5}" presName="connectorText" presStyleLbl="sibTrans2D1" presStyleIdx="4" presStyleCnt="5"/>
      <dgm:spPr/>
    </dgm:pt>
    <dgm:pt modelId="{B825666B-0F70-44C7-B3A5-B67865A391FA}" type="pres">
      <dgm:prSet presAssocID="{DA8DF527-CB29-438B-A5BC-6EE734242962}" presName="node" presStyleLbl="node1" presStyleIdx="4" presStyleCnt="5">
        <dgm:presLayoutVars>
          <dgm:bulletEnabled val="1"/>
        </dgm:presLayoutVars>
      </dgm:prSet>
      <dgm:spPr/>
    </dgm:pt>
  </dgm:ptLst>
  <dgm:cxnLst>
    <dgm:cxn modelId="{40277A01-EE9E-43EB-A2FC-7C8528E9812A}" type="presOf" srcId="{684B92A3-92E0-4B52-AFB0-B5F7BB2CC9A9}" destId="{99690DC1-9471-418E-A968-03303C581A07}" srcOrd="0" destOrd="0" presId="urn:microsoft.com/office/officeart/2005/8/layout/radial5"/>
    <dgm:cxn modelId="{30B05407-C5D9-4F59-A497-FCFBAD1D4C79}" type="presOf" srcId="{437C88D5-6411-4E56-87C8-15243396B4B0}" destId="{5D426139-5116-489B-AFC6-FC9E8729CB4B}" srcOrd="1" destOrd="0" presId="urn:microsoft.com/office/officeart/2005/8/layout/radial5"/>
    <dgm:cxn modelId="{F235710B-F9CC-4E07-A498-CB0A2E933CBA}" type="presOf" srcId="{35EC8EF2-7D52-4CB5-9499-6D7E9ADE25BD}" destId="{898CD711-4909-4056-9734-68FE8F545AA8}" srcOrd="1" destOrd="0" presId="urn:microsoft.com/office/officeart/2005/8/layout/radial5"/>
    <dgm:cxn modelId="{0DEF2623-1F29-4893-A146-3D8BBE74509A}" srcId="{A449B421-AD07-4A05-9343-7A954BC88C98}" destId="{DA8DF527-CB29-438B-A5BC-6EE734242962}" srcOrd="4" destOrd="0" parTransId="{9B8C0505-4797-4BAB-979A-85303281DBB5}" sibTransId="{6A70CE76-375B-4D45-8EC7-E9FF68E0613A}"/>
    <dgm:cxn modelId="{187E5827-8611-4377-9409-1D7D7A22772E}" type="presOf" srcId="{92DB27E0-F7D5-4B42-B5B5-DE4EFA63B2A2}" destId="{43B994A7-3F6D-46CB-A2BF-47BF50DFCF32}" srcOrd="0" destOrd="0" presId="urn:microsoft.com/office/officeart/2005/8/layout/radial5"/>
    <dgm:cxn modelId="{FA90E427-F074-4FD7-99FF-273784144229}" srcId="{A449B421-AD07-4A05-9343-7A954BC88C98}" destId="{36D13B68-5080-4E89-8CE1-FD00A5543453}" srcOrd="1" destOrd="0" parTransId="{78FD4A42-4DF8-43C0-80BE-38A11525F86A}" sibTransId="{510345F8-E333-4A2B-85A3-3FE68FC11D79}"/>
    <dgm:cxn modelId="{078FB736-D433-4E27-9E9F-2870286302E0}" type="presOf" srcId="{78FD4A42-4DF8-43C0-80BE-38A11525F86A}" destId="{85DD40F4-393B-4BFF-8C6B-D8657CAE0496}" srcOrd="0" destOrd="0" presId="urn:microsoft.com/office/officeart/2005/8/layout/radial5"/>
    <dgm:cxn modelId="{952ADF37-F6FE-43E6-BDE3-E5AD70B3B803}" srcId="{A449B421-AD07-4A05-9343-7A954BC88C98}" destId="{9253B839-30CF-42CC-8FFF-1ED308588A05}" srcOrd="3" destOrd="0" parTransId="{684B92A3-92E0-4B52-AFB0-B5F7BB2CC9A9}" sibTransId="{391B569E-716A-4787-AC0B-4F544D6EABBC}"/>
    <dgm:cxn modelId="{2F7E3F3C-40DB-4F65-A7BB-306884275327}" type="presOf" srcId="{78FD4A42-4DF8-43C0-80BE-38A11525F86A}" destId="{40EE840D-8D7A-4DEE-9C3C-CE9F398E2128}" srcOrd="1" destOrd="0" presId="urn:microsoft.com/office/officeart/2005/8/layout/radial5"/>
    <dgm:cxn modelId="{26980A3F-5940-4C4D-975B-52DC369458AA}" srcId="{58ACEBE5-3D43-4993-A774-C63744239D9C}" destId="{A449B421-AD07-4A05-9343-7A954BC88C98}" srcOrd="0" destOrd="0" parTransId="{F013D3CF-1147-4F5D-99CA-7818D00C7BB6}" sibTransId="{68040DD8-C8FE-4EC9-B168-E975820CE47A}"/>
    <dgm:cxn modelId="{C0AFFB5A-B11D-4BD1-9B26-FA7F94388F3F}" type="presOf" srcId="{35EC8EF2-7D52-4CB5-9499-6D7E9ADE25BD}" destId="{6B08BE6E-5ED3-46B7-ACA7-36F09BFED785}" srcOrd="0" destOrd="0" presId="urn:microsoft.com/office/officeart/2005/8/layout/radial5"/>
    <dgm:cxn modelId="{B9EE767C-4BBB-4788-9D53-A24D8CA4861E}" type="presOf" srcId="{58ACEBE5-3D43-4993-A774-C63744239D9C}" destId="{7A01420C-DF46-46FB-8EFE-ACB0C527538D}" srcOrd="0" destOrd="0" presId="urn:microsoft.com/office/officeart/2005/8/layout/radial5"/>
    <dgm:cxn modelId="{41C1F59E-8BF7-4727-A87B-2F56C331E5FE}" type="presOf" srcId="{DA8DF527-CB29-438B-A5BC-6EE734242962}" destId="{B825666B-0F70-44C7-B3A5-B67865A391FA}" srcOrd="0" destOrd="0" presId="urn:microsoft.com/office/officeart/2005/8/layout/radial5"/>
    <dgm:cxn modelId="{9BBF15AE-443F-4C76-A0DF-67DE91CECB2D}" type="presOf" srcId="{ECDBBFF5-D603-465B-9E35-703E01624751}" destId="{0BA2A60A-2083-4114-8050-59651AA0322F}" srcOrd="0" destOrd="0" presId="urn:microsoft.com/office/officeart/2005/8/layout/radial5"/>
    <dgm:cxn modelId="{8FC6FCC9-741E-48C6-B08D-F4E6A51B782D}" type="presOf" srcId="{A449B421-AD07-4A05-9343-7A954BC88C98}" destId="{358F895D-8DB2-4D61-9FC1-784A2EAFA481}" srcOrd="0" destOrd="0" presId="urn:microsoft.com/office/officeart/2005/8/layout/radial5"/>
    <dgm:cxn modelId="{207F48CE-FC7D-4EC5-B6A1-516FAC0AFC97}" type="presOf" srcId="{684B92A3-92E0-4B52-AFB0-B5F7BB2CC9A9}" destId="{85D3F386-0E74-4E3D-B050-607AB9BAED9F}" srcOrd="1" destOrd="0" presId="urn:microsoft.com/office/officeart/2005/8/layout/radial5"/>
    <dgm:cxn modelId="{7AAF43CF-BB22-4A28-A7F4-7C7E2F775E79}" srcId="{A449B421-AD07-4A05-9343-7A954BC88C98}" destId="{ECDBBFF5-D603-465B-9E35-703E01624751}" srcOrd="0" destOrd="0" parTransId="{437C88D5-6411-4E56-87C8-15243396B4B0}" sibTransId="{F2CAEFF6-996F-49B1-B3C4-D67DB5EB6E07}"/>
    <dgm:cxn modelId="{37F4E0D5-A53C-4FEC-BFA6-96ED59A7D888}" type="presOf" srcId="{437C88D5-6411-4E56-87C8-15243396B4B0}" destId="{12B4B3F3-754E-4260-9342-CB9156D19B40}" srcOrd="0" destOrd="0" presId="urn:microsoft.com/office/officeart/2005/8/layout/radial5"/>
    <dgm:cxn modelId="{4D8A36DC-76C4-4F3A-AB78-D4C7E3AEE11D}" type="presOf" srcId="{9253B839-30CF-42CC-8FFF-1ED308588A05}" destId="{2829C871-D7C0-46B0-B252-8CDBA7FFF94A}" srcOrd="0" destOrd="0" presId="urn:microsoft.com/office/officeart/2005/8/layout/radial5"/>
    <dgm:cxn modelId="{B57787DF-D5E2-40FB-8CA6-F965CF3D6E32}" type="presOf" srcId="{9B8C0505-4797-4BAB-979A-85303281DBB5}" destId="{5BE6BDB0-E53A-4D86-ACFD-9336C73C3947}" srcOrd="1" destOrd="0" presId="urn:microsoft.com/office/officeart/2005/8/layout/radial5"/>
    <dgm:cxn modelId="{41C4BDE1-87DE-442B-9476-BAB62AD34D9A}" type="presOf" srcId="{9B8C0505-4797-4BAB-979A-85303281DBB5}" destId="{8B17D0B5-9218-43B3-818D-4F807CE80CC4}" srcOrd="0" destOrd="0" presId="urn:microsoft.com/office/officeart/2005/8/layout/radial5"/>
    <dgm:cxn modelId="{25ECC5EA-AB0F-4599-A51E-39FF0DD51FE4}" srcId="{A449B421-AD07-4A05-9343-7A954BC88C98}" destId="{92DB27E0-F7D5-4B42-B5B5-DE4EFA63B2A2}" srcOrd="2" destOrd="0" parTransId="{35EC8EF2-7D52-4CB5-9499-6D7E9ADE25BD}" sibTransId="{6AE22EE1-951A-42A5-BBD1-6B27BD02CE6E}"/>
    <dgm:cxn modelId="{B2CC6FFF-1B3B-44AC-861F-35FE785F3696}" type="presOf" srcId="{36D13B68-5080-4E89-8CE1-FD00A5543453}" destId="{4494EE90-2CFB-4FB1-A0BA-36E57DE3FE34}" srcOrd="0" destOrd="0" presId="urn:microsoft.com/office/officeart/2005/8/layout/radial5"/>
    <dgm:cxn modelId="{B6AAC31C-9B06-40C4-9B9B-E8339BA15F9F}" type="presParOf" srcId="{7A01420C-DF46-46FB-8EFE-ACB0C527538D}" destId="{358F895D-8DB2-4D61-9FC1-784A2EAFA481}" srcOrd="0" destOrd="0" presId="urn:microsoft.com/office/officeart/2005/8/layout/radial5"/>
    <dgm:cxn modelId="{7B452330-1513-437C-A8D1-8CE7FE5A5673}" type="presParOf" srcId="{7A01420C-DF46-46FB-8EFE-ACB0C527538D}" destId="{12B4B3F3-754E-4260-9342-CB9156D19B40}" srcOrd="1" destOrd="0" presId="urn:microsoft.com/office/officeart/2005/8/layout/radial5"/>
    <dgm:cxn modelId="{BDD30D73-DD9D-4082-AEC0-238D2A926CB1}" type="presParOf" srcId="{12B4B3F3-754E-4260-9342-CB9156D19B40}" destId="{5D426139-5116-489B-AFC6-FC9E8729CB4B}" srcOrd="0" destOrd="0" presId="urn:microsoft.com/office/officeart/2005/8/layout/radial5"/>
    <dgm:cxn modelId="{75F40FCD-B3D5-42C4-B5EC-A5537BFFBE48}" type="presParOf" srcId="{7A01420C-DF46-46FB-8EFE-ACB0C527538D}" destId="{0BA2A60A-2083-4114-8050-59651AA0322F}" srcOrd="2" destOrd="0" presId="urn:microsoft.com/office/officeart/2005/8/layout/radial5"/>
    <dgm:cxn modelId="{982DBD24-E4C8-43AD-817A-BCD7639DA82F}" type="presParOf" srcId="{7A01420C-DF46-46FB-8EFE-ACB0C527538D}" destId="{85DD40F4-393B-4BFF-8C6B-D8657CAE0496}" srcOrd="3" destOrd="0" presId="urn:microsoft.com/office/officeart/2005/8/layout/radial5"/>
    <dgm:cxn modelId="{E8E59B10-A37B-4494-A18E-DF318EED6EF8}" type="presParOf" srcId="{85DD40F4-393B-4BFF-8C6B-D8657CAE0496}" destId="{40EE840D-8D7A-4DEE-9C3C-CE9F398E2128}" srcOrd="0" destOrd="0" presId="urn:microsoft.com/office/officeart/2005/8/layout/radial5"/>
    <dgm:cxn modelId="{F86FB10F-19F3-4BDF-A880-0CD5814351E9}" type="presParOf" srcId="{7A01420C-DF46-46FB-8EFE-ACB0C527538D}" destId="{4494EE90-2CFB-4FB1-A0BA-36E57DE3FE34}" srcOrd="4" destOrd="0" presId="urn:microsoft.com/office/officeart/2005/8/layout/radial5"/>
    <dgm:cxn modelId="{13349C09-0BD5-46DB-935D-EA478C3FB5CC}" type="presParOf" srcId="{7A01420C-DF46-46FB-8EFE-ACB0C527538D}" destId="{6B08BE6E-5ED3-46B7-ACA7-36F09BFED785}" srcOrd="5" destOrd="0" presId="urn:microsoft.com/office/officeart/2005/8/layout/radial5"/>
    <dgm:cxn modelId="{784673DA-B100-43AD-BBA5-BDE0A9C5EBD2}" type="presParOf" srcId="{6B08BE6E-5ED3-46B7-ACA7-36F09BFED785}" destId="{898CD711-4909-4056-9734-68FE8F545AA8}" srcOrd="0" destOrd="0" presId="urn:microsoft.com/office/officeart/2005/8/layout/radial5"/>
    <dgm:cxn modelId="{167FC0D4-9A8D-4585-B222-AF50CC190933}" type="presParOf" srcId="{7A01420C-DF46-46FB-8EFE-ACB0C527538D}" destId="{43B994A7-3F6D-46CB-A2BF-47BF50DFCF32}" srcOrd="6" destOrd="0" presId="urn:microsoft.com/office/officeart/2005/8/layout/radial5"/>
    <dgm:cxn modelId="{0C6C2BC4-8772-4A17-B5E7-0635185BA917}" type="presParOf" srcId="{7A01420C-DF46-46FB-8EFE-ACB0C527538D}" destId="{99690DC1-9471-418E-A968-03303C581A07}" srcOrd="7" destOrd="0" presId="urn:microsoft.com/office/officeart/2005/8/layout/radial5"/>
    <dgm:cxn modelId="{45376ADE-49C4-4FB7-ACD0-65EFDB062033}" type="presParOf" srcId="{99690DC1-9471-418E-A968-03303C581A07}" destId="{85D3F386-0E74-4E3D-B050-607AB9BAED9F}" srcOrd="0" destOrd="0" presId="urn:microsoft.com/office/officeart/2005/8/layout/radial5"/>
    <dgm:cxn modelId="{B5388531-B77F-49F5-8A38-49AF50575564}" type="presParOf" srcId="{7A01420C-DF46-46FB-8EFE-ACB0C527538D}" destId="{2829C871-D7C0-46B0-B252-8CDBA7FFF94A}" srcOrd="8" destOrd="0" presId="urn:microsoft.com/office/officeart/2005/8/layout/radial5"/>
    <dgm:cxn modelId="{72E41E2B-2678-4BE0-B794-2E35B784D039}" type="presParOf" srcId="{7A01420C-DF46-46FB-8EFE-ACB0C527538D}" destId="{8B17D0B5-9218-43B3-818D-4F807CE80CC4}" srcOrd="9" destOrd="0" presId="urn:microsoft.com/office/officeart/2005/8/layout/radial5"/>
    <dgm:cxn modelId="{E8A91122-D968-4327-AE85-995E13E40D7D}" type="presParOf" srcId="{8B17D0B5-9218-43B3-818D-4F807CE80CC4}" destId="{5BE6BDB0-E53A-4D86-ACFD-9336C73C3947}" srcOrd="0" destOrd="0" presId="urn:microsoft.com/office/officeart/2005/8/layout/radial5"/>
    <dgm:cxn modelId="{31F144A9-3A03-42DA-A834-4ADD56FF81C9}" type="presParOf" srcId="{7A01420C-DF46-46FB-8EFE-ACB0C527538D}" destId="{B825666B-0F70-44C7-B3A5-B67865A391FA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992796C-2DFE-42D2-B501-635BEECD8896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42B4BD4-31C1-4154-BFD2-454EAC171FB5}">
      <dgm:prSet phldrT="[Text]"/>
      <dgm:spPr/>
      <dgm:t>
        <a:bodyPr/>
        <a:lstStyle/>
        <a:p>
          <a:r>
            <a:rPr lang="en-GB" dirty="0"/>
            <a:t>Minimum 240 minutes since last first slug</a:t>
          </a:r>
        </a:p>
      </dgm:t>
    </dgm:pt>
    <dgm:pt modelId="{A0943572-258D-4C4B-B604-949B1B1A6F48}" type="parTrans" cxnId="{D4E33320-E23F-404B-954F-F775A437ADD0}">
      <dgm:prSet/>
      <dgm:spPr/>
      <dgm:t>
        <a:bodyPr/>
        <a:lstStyle/>
        <a:p>
          <a:endParaRPr lang="en-GB"/>
        </a:p>
      </dgm:t>
    </dgm:pt>
    <dgm:pt modelId="{E7FCE06C-DE20-4B2A-9463-058C81021AD0}" type="sibTrans" cxnId="{D4E33320-E23F-404B-954F-F775A437ADD0}">
      <dgm:prSet/>
      <dgm:spPr/>
      <dgm:t>
        <a:bodyPr/>
        <a:lstStyle/>
        <a:p>
          <a:endParaRPr lang="en-GB"/>
        </a:p>
      </dgm:t>
    </dgm:pt>
    <dgm:pt modelId="{9E572A18-FA41-4449-A927-5FE66407241C}">
      <dgm:prSet phldrT="[Text]"/>
      <dgm:spPr/>
      <dgm:t>
        <a:bodyPr/>
        <a:lstStyle/>
        <a:p>
          <a:r>
            <a:rPr lang="en-GB" dirty="0"/>
            <a:t>Slug flow has not been continuous</a:t>
          </a:r>
        </a:p>
      </dgm:t>
    </dgm:pt>
    <dgm:pt modelId="{BDC08BB7-DA4D-4EDD-B193-DC2A9F7FFB1E}" type="parTrans" cxnId="{3BA0364C-8A46-4ED1-A148-A53F9BA3430F}">
      <dgm:prSet/>
      <dgm:spPr/>
      <dgm:t>
        <a:bodyPr/>
        <a:lstStyle/>
        <a:p>
          <a:endParaRPr lang="en-GB"/>
        </a:p>
      </dgm:t>
    </dgm:pt>
    <dgm:pt modelId="{633372FA-4B82-4323-A154-1E603C75051B}" type="sibTrans" cxnId="{3BA0364C-8A46-4ED1-A148-A53F9BA3430F}">
      <dgm:prSet/>
      <dgm:spPr/>
      <dgm:t>
        <a:bodyPr/>
        <a:lstStyle/>
        <a:p>
          <a:endParaRPr lang="en-GB"/>
        </a:p>
      </dgm:t>
    </dgm:pt>
    <dgm:pt modelId="{77D45E90-0BD9-4B24-AAC3-711C71CCC14C}">
      <dgm:prSet phldrT="[Text]"/>
      <dgm:spPr/>
      <dgm:t>
        <a:bodyPr/>
        <a:lstStyle/>
        <a:p>
          <a:r>
            <a:rPr lang="en-GB" dirty="0"/>
            <a:t>Current and next two slug peaks are within 20 minutes each of each other</a:t>
          </a:r>
        </a:p>
      </dgm:t>
    </dgm:pt>
    <dgm:pt modelId="{A12EEBC2-B7FC-45F5-92B1-5F50161937C8}" type="parTrans" cxnId="{875CAE4E-208C-48ED-9F48-CB5088A4AC13}">
      <dgm:prSet/>
      <dgm:spPr/>
      <dgm:t>
        <a:bodyPr/>
        <a:lstStyle/>
        <a:p>
          <a:endParaRPr lang="en-GB"/>
        </a:p>
      </dgm:t>
    </dgm:pt>
    <dgm:pt modelId="{1C92460D-0FD3-4E02-93C4-FCC984F02C27}" type="sibTrans" cxnId="{875CAE4E-208C-48ED-9F48-CB5088A4AC13}">
      <dgm:prSet/>
      <dgm:spPr/>
      <dgm:t>
        <a:bodyPr/>
        <a:lstStyle/>
        <a:p>
          <a:endParaRPr lang="en-GB"/>
        </a:p>
      </dgm:t>
    </dgm:pt>
    <dgm:pt modelId="{ABBE2EC3-FB2D-4D29-BB2E-AFBD3C70FDD2}">
      <dgm:prSet phldrT="[Text]"/>
      <dgm:spPr/>
      <dgm:t>
        <a:bodyPr/>
        <a:lstStyle/>
        <a:p>
          <a:r>
            <a:rPr lang="en-GB" dirty="0"/>
            <a:t>Current and next two slug peaks WHP are within 2 </a:t>
          </a:r>
          <a:r>
            <a:rPr lang="en-GB" dirty="0" err="1"/>
            <a:t>BarG</a:t>
          </a:r>
          <a:r>
            <a:rPr lang="en-GB" dirty="0"/>
            <a:t> each of each other</a:t>
          </a:r>
        </a:p>
      </dgm:t>
    </dgm:pt>
    <dgm:pt modelId="{87BC3A10-0BF9-4CDD-9FD7-D5318F5DE290}" type="parTrans" cxnId="{7E5E1F64-608E-4642-B9D4-41DFEAF19377}">
      <dgm:prSet/>
      <dgm:spPr/>
      <dgm:t>
        <a:bodyPr/>
        <a:lstStyle/>
        <a:p>
          <a:endParaRPr lang="en-GB"/>
        </a:p>
      </dgm:t>
    </dgm:pt>
    <dgm:pt modelId="{A54C4779-6C2A-44BC-926F-3AE2CF3CD1EC}" type="sibTrans" cxnId="{7E5E1F64-608E-4642-B9D4-41DFEAF19377}">
      <dgm:prSet/>
      <dgm:spPr/>
      <dgm:t>
        <a:bodyPr/>
        <a:lstStyle/>
        <a:p>
          <a:endParaRPr lang="en-GB"/>
        </a:p>
      </dgm:t>
    </dgm:pt>
    <dgm:pt modelId="{B449255D-F466-496E-9246-A7923E699E78}">
      <dgm:prSet phldrT="[Text]"/>
      <dgm:spPr/>
      <dgm:t>
        <a:bodyPr/>
        <a:lstStyle/>
        <a:p>
          <a:r>
            <a:rPr lang="en-GB" dirty="0"/>
            <a:t>First Slug</a:t>
          </a:r>
        </a:p>
      </dgm:t>
    </dgm:pt>
    <dgm:pt modelId="{E0766F58-7B62-439D-989B-292061A71AD8}" type="parTrans" cxnId="{4182A07D-E504-4421-9508-6CE4B6704DEF}">
      <dgm:prSet/>
      <dgm:spPr/>
      <dgm:t>
        <a:bodyPr/>
        <a:lstStyle/>
        <a:p>
          <a:endParaRPr lang="en-GB"/>
        </a:p>
      </dgm:t>
    </dgm:pt>
    <dgm:pt modelId="{88D75CE1-232E-4A88-917B-4C8F76556CA3}" type="sibTrans" cxnId="{4182A07D-E504-4421-9508-6CE4B6704DEF}">
      <dgm:prSet/>
      <dgm:spPr/>
      <dgm:t>
        <a:bodyPr/>
        <a:lstStyle/>
        <a:p>
          <a:endParaRPr lang="en-GB"/>
        </a:p>
      </dgm:t>
    </dgm:pt>
    <dgm:pt modelId="{FA41889F-4DA0-44B5-BE5D-F4D522CCD4A0}" type="pres">
      <dgm:prSet presAssocID="{C992796C-2DFE-42D2-B501-635BEECD8896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3F048DE3-D533-4A16-8AFF-F9FFC7E4A914}" type="pres">
      <dgm:prSet presAssocID="{B449255D-F466-496E-9246-A7923E699E78}" presName="Accent5" presStyleCnt="0"/>
      <dgm:spPr/>
    </dgm:pt>
    <dgm:pt modelId="{D783EBDF-063A-46BE-912D-5D7B6EE77042}" type="pres">
      <dgm:prSet presAssocID="{B449255D-F466-496E-9246-A7923E699E78}" presName="Accent" presStyleLbl="node1" presStyleIdx="0" presStyleCnt="5"/>
      <dgm:spPr/>
    </dgm:pt>
    <dgm:pt modelId="{BEF378EE-6099-45FA-9BB3-CC6B66563AC4}" type="pres">
      <dgm:prSet presAssocID="{B449255D-F466-496E-9246-A7923E699E78}" presName="ParentBackground5" presStyleCnt="0"/>
      <dgm:spPr/>
    </dgm:pt>
    <dgm:pt modelId="{FA6CEDF6-5AD2-463F-886B-2896003AB67E}" type="pres">
      <dgm:prSet presAssocID="{B449255D-F466-496E-9246-A7923E699E78}" presName="ParentBackground" presStyleLbl="fgAcc1" presStyleIdx="0" presStyleCnt="5"/>
      <dgm:spPr/>
    </dgm:pt>
    <dgm:pt modelId="{0CC1CCA1-6404-41D0-B8D0-EF3C0997391D}" type="pres">
      <dgm:prSet presAssocID="{B449255D-F466-496E-9246-A7923E699E78}" presName="Parent5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C4A15F00-9A37-4455-BBC7-65BC24CA50BF}" type="pres">
      <dgm:prSet presAssocID="{ABBE2EC3-FB2D-4D29-BB2E-AFBD3C70FDD2}" presName="Accent4" presStyleCnt="0"/>
      <dgm:spPr/>
    </dgm:pt>
    <dgm:pt modelId="{2A821DDE-161D-41F9-8AA3-3F80E2EA2C2C}" type="pres">
      <dgm:prSet presAssocID="{ABBE2EC3-FB2D-4D29-BB2E-AFBD3C70FDD2}" presName="Accent" presStyleLbl="node1" presStyleIdx="1" presStyleCnt="5"/>
      <dgm:spPr/>
    </dgm:pt>
    <dgm:pt modelId="{5CD0B460-0E69-43C1-8A7D-05A7024BA468}" type="pres">
      <dgm:prSet presAssocID="{ABBE2EC3-FB2D-4D29-BB2E-AFBD3C70FDD2}" presName="ParentBackground4" presStyleCnt="0"/>
      <dgm:spPr/>
    </dgm:pt>
    <dgm:pt modelId="{97BB51FA-7D50-4AB6-B819-E66E75B19D9E}" type="pres">
      <dgm:prSet presAssocID="{ABBE2EC3-FB2D-4D29-BB2E-AFBD3C70FDD2}" presName="ParentBackground" presStyleLbl="fgAcc1" presStyleIdx="1" presStyleCnt="5"/>
      <dgm:spPr/>
    </dgm:pt>
    <dgm:pt modelId="{47072222-B992-42BF-94A4-79D8FA1C6946}" type="pres">
      <dgm:prSet presAssocID="{ABBE2EC3-FB2D-4D29-BB2E-AFBD3C70FDD2}" presName="Parent4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C1BA2211-1A48-4786-8868-40429160D235}" type="pres">
      <dgm:prSet presAssocID="{77D45E90-0BD9-4B24-AAC3-711C71CCC14C}" presName="Accent3" presStyleCnt="0"/>
      <dgm:spPr/>
    </dgm:pt>
    <dgm:pt modelId="{CB07CB68-9407-40C0-BB38-CD1AB937D3D3}" type="pres">
      <dgm:prSet presAssocID="{77D45E90-0BD9-4B24-AAC3-711C71CCC14C}" presName="Accent" presStyleLbl="node1" presStyleIdx="2" presStyleCnt="5"/>
      <dgm:spPr/>
    </dgm:pt>
    <dgm:pt modelId="{F4C16B94-36A4-47DB-8E68-1AB7AA77D258}" type="pres">
      <dgm:prSet presAssocID="{77D45E90-0BD9-4B24-AAC3-711C71CCC14C}" presName="ParentBackground3" presStyleCnt="0"/>
      <dgm:spPr/>
    </dgm:pt>
    <dgm:pt modelId="{1D68FE9A-C76E-45B5-8380-111C0E4CDD60}" type="pres">
      <dgm:prSet presAssocID="{77D45E90-0BD9-4B24-AAC3-711C71CCC14C}" presName="ParentBackground" presStyleLbl="fgAcc1" presStyleIdx="2" presStyleCnt="5"/>
      <dgm:spPr/>
    </dgm:pt>
    <dgm:pt modelId="{FC48AED6-2EE8-4507-B055-6E4B66083357}" type="pres">
      <dgm:prSet presAssocID="{77D45E90-0BD9-4B24-AAC3-711C71CCC14C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DFF4660C-3C1F-4F44-AE9E-3FF3C18C181E}" type="pres">
      <dgm:prSet presAssocID="{9E572A18-FA41-4449-A927-5FE66407241C}" presName="Accent2" presStyleCnt="0"/>
      <dgm:spPr/>
    </dgm:pt>
    <dgm:pt modelId="{52C54E96-B04B-463B-8EAF-84FA42020977}" type="pres">
      <dgm:prSet presAssocID="{9E572A18-FA41-4449-A927-5FE66407241C}" presName="Accent" presStyleLbl="node1" presStyleIdx="3" presStyleCnt="5"/>
      <dgm:spPr/>
    </dgm:pt>
    <dgm:pt modelId="{9BB9C033-DA89-4A90-B71C-9CF6DD13FA5D}" type="pres">
      <dgm:prSet presAssocID="{9E572A18-FA41-4449-A927-5FE66407241C}" presName="ParentBackground2" presStyleCnt="0"/>
      <dgm:spPr/>
    </dgm:pt>
    <dgm:pt modelId="{2E10433E-6D4F-40E4-A6BD-15B9E11097E2}" type="pres">
      <dgm:prSet presAssocID="{9E572A18-FA41-4449-A927-5FE66407241C}" presName="ParentBackground" presStyleLbl="fgAcc1" presStyleIdx="3" presStyleCnt="5"/>
      <dgm:spPr/>
    </dgm:pt>
    <dgm:pt modelId="{56BB6114-A0AE-4C6D-9452-0BCF0FDC4987}" type="pres">
      <dgm:prSet presAssocID="{9E572A18-FA41-4449-A927-5FE66407241C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D97C4032-2EC2-4AD5-9447-A0D10BD05EB2}" type="pres">
      <dgm:prSet presAssocID="{B42B4BD4-31C1-4154-BFD2-454EAC171FB5}" presName="Accent1" presStyleCnt="0"/>
      <dgm:spPr/>
    </dgm:pt>
    <dgm:pt modelId="{7310CC09-296C-45B7-A185-E325C0F0314B}" type="pres">
      <dgm:prSet presAssocID="{B42B4BD4-31C1-4154-BFD2-454EAC171FB5}" presName="Accent" presStyleLbl="node1" presStyleIdx="4" presStyleCnt="5"/>
      <dgm:spPr/>
    </dgm:pt>
    <dgm:pt modelId="{6BC5429E-756D-4CB8-AB26-E05A420E17C9}" type="pres">
      <dgm:prSet presAssocID="{B42B4BD4-31C1-4154-BFD2-454EAC171FB5}" presName="ParentBackground1" presStyleCnt="0"/>
      <dgm:spPr/>
    </dgm:pt>
    <dgm:pt modelId="{50940E8D-C258-40AE-BB86-132CAB658DDC}" type="pres">
      <dgm:prSet presAssocID="{B42B4BD4-31C1-4154-BFD2-454EAC171FB5}" presName="ParentBackground" presStyleLbl="fgAcc1" presStyleIdx="4" presStyleCnt="5"/>
      <dgm:spPr/>
    </dgm:pt>
    <dgm:pt modelId="{02E59441-2EF8-4DF3-A2B4-EF1BC9527858}" type="pres">
      <dgm:prSet presAssocID="{B42B4BD4-31C1-4154-BFD2-454EAC171FB5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93707110-DA9E-41B7-BE3E-0B815D150EA5}" type="presOf" srcId="{B449255D-F466-496E-9246-A7923E699E78}" destId="{0CC1CCA1-6404-41D0-B8D0-EF3C0997391D}" srcOrd="1" destOrd="0" presId="urn:microsoft.com/office/officeart/2011/layout/CircleProcess"/>
    <dgm:cxn modelId="{8B6BF41E-BDC2-4CA1-A813-0A17AA567589}" type="presOf" srcId="{9E572A18-FA41-4449-A927-5FE66407241C}" destId="{2E10433E-6D4F-40E4-A6BD-15B9E11097E2}" srcOrd="0" destOrd="0" presId="urn:microsoft.com/office/officeart/2011/layout/CircleProcess"/>
    <dgm:cxn modelId="{D4E33320-E23F-404B-954F-F775A437ADD0}" srcId="{C992796C-2DFE-42D2-B501-635BEECD8896}" destId="{B42B4BD4-31C1-4154-BFD2-454EAC171FB5}" srcOrd="0" destOrd="0" parTransId="{A0943572-258D-4C4B-B604-949B1B1A6F48}" sibTransId="{E7FCE06C-DE20-4B2A-9463-058C81021AD0}"/>
    <dgm:cxn modelId="{ADF31221-C83C-4C3B-9B55-BFA217E55255}" type="presOf" srcId="{9E572A18-FA41-4449-A927-5FE66407241C}" destId="{56BB6114-A0AE-4C6D-9452-0BCF0FDC4987}" srcOrd="1" destOrd="0" presId="urn:microsoft.com/office/officeart/2011/layout/CircleProcess"/>
    <dgm:cxn modelId="{9658013D-E0DC-4371-A1A9-4BC42ECD153A}" type="presOf" srcId="{77D45E90-0BD9-4B24-AAC3-711C71CCC14C}" destId="{1D68FE9A-C76E-45B5-8380-111C0E4CDD60}" srcOrd="0" destOrd="0" presId="urn:microsoft.com/office/officeart/2011/layout/CircleProcess"/>
    <dgm:cxn modelId="{7937F75E-CB0D-4192-9A55-AEF23036E3FD}" type="presOf" srcId="{ABBE2EC3-FB2D-4D29-BB2E-AFBD3C70FDD2}" destId="{47072222-B992-42BF-94A4-79D8FA1C6946}" srcOrd="1" destOrd="0" presId="urn:microsoft.com/office/officeart/2011/layout/CircleProcess"/>
    <dgm:cxn modelId="{B6771844-5992-4F90-8A9D-168C5312125C}" type="presOf" srcId="{77D45E90-0BD9-4B24-AAC3-711C71CCC14C}" destId="{FC48AED6-2EE8-4507-B055-6E4B66083357}" srcOrd="1" destOrd="0" presId="urn:microsoft.com/office/officeart/2011/layout/CircleProcess"/>
    <dgm:cxn modelId="{7E5E1F64-608E-4642-B9D4-41DFEAF19377}" srcId="{C992796C-2DFE-42D2-B501-635BEECD8896}" destId="{ABBE2EC3-FB2D-4D29-BB2E-AFBD3C70FDD2}" srcOrd="3" destOrd="0" parTransId="{87BC3A10-0BF9-4CDD-9FD7-D5318F5DE290}" sibTransId="{A54C4779-6C2A-44BC-926F-3AE2CF3CD1EC}"/>
    <dgm:cxn modelId="{8A621F65-5871-495E-8E14-0E9CE3D9AAAF}" type="presOf" srcId="{B42B4BD4-31C1-4154-BFD2-454EAC171FB5}" destId="{02E59441-2EF8-4DF3-A2B4-EF1BC9527858}" srcOrd="1" destOrd="0" presId="urn:microsoft.com/office/officeart/2011/layout/CircleProcess"/>
    <dgm:cxn modelId="{85D3F347-5A39-4360-B183-80C6D2B920A1}" type="presOf" srcId="{B449255D-F466-496E-9246-A7923E699E78}" destId="{FA6CEDF6-5AD2-463F-886B-2896003AB67E}" srcOrd="0" destOrd="0" presId="urn:microsoft.com/office/officeart/2011/layout/CircleProcess"/>
    <dgm:cxn modelId="{3BA0364C-8A46-4ED1-A148-A53F9BA3430F}" srcId="{C992796C-2DFE-42D2-B501-635BEECD8896}" destId="{9E572A18-FA41-4449-A927-5FE66407241C}" srcOrd="1" destOrd="0" parTransId="{BDC08BB7-DA4D-4EDD-B193-DC2A9F7FFB1E}" sibTransId="{633372FA-4B82-4323-A154-1E603C75051B}"/>
    <dgm:cxn modelId="{875CAE4E-208C-48ED-9F48-CB5088A4AC13}" srcId="{C992796C-2DFE-42D2-B501-635BEECD8896}" destId="{77D45E90-0BD9-4B24-AAC3-711C71CCC14C}" srcOrd="2" destOrd="0" parTransId="{A12EEBC2-B7FC-45F5-92B1-5F50161937C8}" sibTransId="{1C92460D-0FD3-4E02-93C4-FCC984F02C27}"/>
    <dgm:cxn modelId="{E9B5CE76-A6EC-45DF-946D-B63DE4EC5369}" type="presOf" srcId="{C992796C-2DFE-42D2-B501-635BEECD8896}" destId="{FA41889F-4DA0-44B5-BE5D-F4D522CCD4A0}" srcOrd="0" destOrd="0" presId="urn:microsoft.com/office/officeart/2011/layout/CircleProcess"/>
    <dgm:cxn modelId="{4182A07D-E504-4421-9508-6CE4B6704DEF}" srcId="{C992796C-2DFE-42D2-B501-635BEECD8896}" destId="{B449255D-F466-496E-9246-A7923E699E78}" srcOrd="4" destOrd="0" parTransId="{E0766F58-7B62-439D-989B-292061A71AD8}" sibTransId="{88D75CE1-232E-4A88-917B-4C8F76556CA3}"/>
    <dgm:cxn modelId="{574F0682-8114-4A07-8AF7-87D717FE6F88}" type="presOf" srcId="{B42B4BD4-31C1-4154-BFD2-454EAC171FB5}" destId="{50940E8D-C258-40AE-BB86-132CAB658DDC}" srcOrd="0" destOrd="0" presId="urn:microsoft.com/office/officeart/2011/layout/CircleProcess"/>
    <dgm:cxn modelId="{13481FDF-1954-4CF6-809E-7686DBC82B41}" type="presOf" srcId="{ABBE2EC3-FB2D-4D29-BB2E-AFBD3C70FDD2}" destId="{97BB51FA-7D50-4AB6-B819-E66E75B19D9E}" srcOrd="0" destOrd="0" presId="urn:microsoft.com/office/officeart/2011/layout/CircleProcess"/>
    <dgm:cxn modelId="{B7CB5207-761C-44AA-811A-42712147296C}" type="presParOf" srcId="{FA41889F-4DA0-44B5-BE5D-F4D522CCD4A0}" destId="{3F048DE3-D533-4A16-8AFF-F9FFC7E4A914}" srcOrd="0" destOrd="0" presId="urn:microsoft.com/office/officeart/2011/layout/CircleProcess"/>
    <dgm:cxn modelId="{2021EE60-E378-431C-A869-D289EC0F6E96}" type="presParOf" srcId="{3F048DE3-D533-4A16-8AFF-F9FFC7E4A914}" destId="{D783EBDF-063A-46BE-912D-5D7B6EE77042}" srcOrd="0" destOrd="0" presId="urn:microsoft.com/office/officeart/2011/layout/CircleProcess"/>
    <dgm:cxn modelId="{0C57D3F6-83C1-4752-94D1-A820602FBC38}" type="presParOf" srcId="{FA41889F-4DA0-44B5-BE5D-F4D522CCD4A0}" destId="{BEF378EE-6099-45FA-9BB3-CC6B66563AC4}" srcOrd="1" destOrd="0" presId="urn:microsoft.com/office/officeart/2011/layout/CircleProcess"/>
    <dgm:cxn modelId="{4B2DD10C-BE56-466F-AC7F-1733361860DD}" type="presParOf" srcId="{BEF378EE-6099-45FA-9BB3-CC6B66563AC4}" destId="{FA6CEDF6-5AD2-463F-886B-2896003AB67E}" srcOrd="0" destOrd="0" presId="urn:microsoft.com/office/officeart/2011/layout/CircleProcess"/>
    <dgm:cxn modelId="{209F6ABD-5964-449D-8978-29231C4E2A06}" type="presParOf" srcId="{FA41889F-4DA0-44B5-BE5D-F4D522CCD4A0}" destId="{0CC1CCA1-6404-41D0-B8D0-EF3C0997391D}" srcOrd="2" destOrd="0" presId="urn:microsoft.com/office/officeart/2011/layout/CircleProcess"/>
    <dgm:cxn modelId="{EC59BE71-652B-4701-BC29-BFCC041B50E1}" type="presParOf" srcId="{FA41889F-4DA0-44B5-BE5D-F4D522CCD4A0}" destId="{C4A15F00-9A37-4455-BBC7-65BC24CA50BF}" srcOrd="3" destOrd="0" presId="urn:microsoft.com/office/officeart/2011/layout/CircleProcess"/>
    <dgm:cxn modelId="{ADA3253C-96AB-4502-9514-6CA019112F12}" type="presParOf" srcId="{C4A15F00-9A37-4455-BBC7-65BC24CA50BF}" destId="{2A821DDE-161D-41F9-8AA3-3F80E2EA2C2C}" srcOrd="0" destOrd="0" presId="urn:microsoft.com/office/officeart/2011/layout/CircleProcess"/>
    <dgm:cxn modelId="{0D010DA7-4FE6-4886-8A0D-115E83101482}" type="presParOf" srcId="{FA41889F-4DA0-44B5-BE5D-F4D522CCD4A0}" destId="{5CD0B460-0E69-43C1-8A7D-05A7024BA468}" srcOrd="4" destOrd="0" presId="urn:microsoft.com/office/officeart/2011/layout/CircleProcess"/>
    <dgm:cxn modelId="{B5C235DF-D8E3-4888-B2E2-9AD4DA0BCCB2}" type="presParOf" srcId="{5CD0B460-0E69-43C1-8A7D-05A7024BA468}" destId="{97BB51FA-7D50-4AB6-B819-E66E75B19D9E}" srcOrd="0" destOrd="0" presId="urn:microsoft.com/office/officeart/2011/layout/CircleProcess"/>
    <dgm:cxn modelId="{EDA3CEBB-60C2-4798-9205-7775FBD93D20}" type="presParOf" srcId="{FA41889F-4DA0-44B5-BE5D-F4D522CCD4A0}" destId="{47072222-B992-42BF-94A4-79D8FA1C6946}" srcOrd="5" destOrd="0" presId="urn:microsoft.com/office/officeart/2011/layout/CircleProcess"/>
    <dgm:cxn modelId="{E0913D90-5204-4AEF-BD58-80FA00897287}" type="presParOf" srcId="{FA41889F-4DA0-44B5-BE5D-F4D522CCD4A0}" destId="{C1BA2211-1A48-4786-8868-40429160D235}" srcOrd="6" destOrd="0" presId="urn:microsoft.com/office/officeart/2011/layout/CircleProcess"/>
    <dgm:cxn modelId="{DE4FA2C4-5EC1-421F-A2D0-D2FD3C62F73E}" type="presParOf" srcId="{C1BA2211-1A48-4786-8868-40429160D235}" destId="{CB07CB68-9407-40C0-BB38-CD1AB937D3D3}" srcOrd="0" destOrd="0" presId="urn:microsoft.com/office/officeart/2011/layout/CircleProcess"/>
    <dgm:cxn modelId="{BF823F19-087C-458F-9781-8DFCAA5161EA}" type="presParOf" srcId="{FA41889F-4DA0-44B5-BE5D-F4D522CCD4A0}" destId="{F4C16B94-36A4-47DB-8E68-1AB7AA77D258}" srcOrd="7" destOrd="0" presId="urn:microsoft.com/office/officeart/2011/layout/CircleProcess"/>
    <dgm:cxn modelId="{6C395570-0FA2-4596-A0E6-E22154764179}" type="presParOf" srcId="{F4C16B94-36A4-47DB-8E68-1AB7AA77D258}" destId="{1D68FE9A-C76E-45B5-8380-111C0E4CDD60}" srcOrd="0" destOrd="0" presId="urn:microsoft.com/office/officeart/2011/layout/CircleProcess"/>
    <dgm:cxn modelId="{C39072A8-DCE8-40A7-BDEA-4DA936D6C922}" type="presParOf" srcId="{FA41889F-4DA0-44B5-BE5D-F4D522CCD4A0}" destId="{FC48AED6-2EE8-4507-B055-6E4B66083357}" srcOrd="8" destOrd="0" presId="urn:microsoft.com/office/officeart/2011/layout/CircleProcess"/>
    <dgm:cxn modelId="{7FE887D3-1F59-4ED2-8718-C0A24F5AA1A2}" type="presParOf" srcId="{FA41889F-4DA0-44B5-BE5D-F4D522CCD4A0}" destId="{DFF4660C-3C1F-4F44-AE9E-3FF3C18C181E}" srcOrd="9" destOrd="0" presId="urn:microsoft.com/office/officeart/2011/layout/CircleProcess"/>
    <dgm:cxn modelId="{DEAC37F1-99BD-4652-8C81-5436DFAFBB15}" type="presParOf" srcId="{DFF4660C-3C1F-4F44-AE9E-3FF3C18C181E}" destId="{52C54E96-B04B-463B-8EAF-84FA42020977}" srcOrd="0" destOrd="0" presId="urn:microsoft.com/office/officeart/2011/layout/CircleProcess"/>
    <dgm:cxn modelId="{B17470B0-96C5-4391-B693-86AD07B04757}" type="presParOf" srcId="{FA41889F-4DA0-44B5-BE5D-F4D522CCD4A0}" destId="{9BB9C033-DA89-4A90-B71C-9CF6DD13FA5D}" srcOrd="10" destOrd="0" presId="urn:microsoft.com/office/officeart/2011/layout/CircleProcess"/>
    <dgm:cxn modelId="{CE8CA946-E26E-4F7E-AD3D-71DA7085E4FF}" type="presParOf" srcId="{9BB9C033-DA89-4A90-B71C-9CF6DD13FA5D}" destId="{2E10433E-6D4F-40E4-A6BD-15B9E11097E2}" srcOrd="0" destOrd="0" presId="urn:microsoft.com/office/officeart/2011/layout/CircleProcess"/>
    <dgm:cxn modelId="{DBAE6A9D-87B0-4247-8873-F3EE96558E15}" type="presParOf" srcId="{FA41889F-4DA0-44B5-BE5D-F4D522CCD4A0}" destId="{56BB6114-A0AE-4C6D-9452-0BCF0FDC4987}" srcOrd="11" destOrd="0" presId="urn:microsoft.com/office/officeart/2011/layout/CircleProcess"/>
    <dgm:cxn modelId="{0D4FB7C7-9DD6-40E5-892C-D66D5F350E21}" type="presParOf" srcId="{FA41889F-4DA0-44B5-BE5D-F4D522CCD4A0}" destId="{D97C4032-2EC2-4AD5-9447-A0D10BD05EB2}" srcOrd="12" destOrd="0" presId="urn:microsoft.com/office/officeart/2011/layout/CircleProcess"/>
    <dgm:cxn modelId="{B3E66618-0D12-4BD2-A35C-907FF7315D90}" type="presParOf" srcId="{D97C4032-2EC2-4AD5-9447-A0D10BD05EB2}" destId="{7310CC09-296C-45B7-A185-E325C0F0314B}" srcOrd="0" destOrd="0" presId="urn:microsoft.com/office/officeart/2011/layout/CircleProcess"/>
    <dgm:cxn modelId="{28D7143D-D8B3-4F6C-833D-83B96CB002D3}" type="presParOf" srcId="{FA41889F-4DA0-44B5-BE5D-F4D522CCD4A0}" destId="{6BC5429E-756D-4CB8-AB26-E05A420E17C9}" srcOrd="13" destOrd="0" presId="urn:microsoft.com/office/officeart/2011/layout/CircleProcess"/>
    <dgm:cxn modelId="{D8CAB72D-48BD-4D39-9EF9-10E2229C7D56}" type="presParOf" srcId="{6BC5429E-756D-4CB8-AB26-E05A420E17C9}" destId="{50940E8D-C258-40AE-BB86-132CAB658DDC}" srcOrd="0" destOrd="0" presId="urn:microsoft.com/office/officeart/2011/layout/CircleProcess"/>
    <dgm:cxn modelId="{86843CDD-C754-48A9-B87C-658A5F75C780}" type="presParOf" srcId="{FA41889F-4DA0-44B5-BE5D-F4D522CCD4A0}" destId="{02E59441-2EF8-4DF3-A2B4-EF1BC9527858}" srcOrd="14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F0BF72B-F934-40CD-9716-2EB679AE09E5}" type="doc">
      <dgm:prSet loTypeId="urn:microsoft.com/office/officeart/2005/8/layout/process2" loCatId="process" qsTypeId="urn:microsoft.com/office/officeart/2005/8/quickstyle/simple1" qsCatId="simple" csTypeId="urn:microsoft.com/office/officeart/2005/8/colors/accent3_1" csCatId="accent3" phldr="1"/>
      <dgm:spPr/>
    </dgm:pt>
    <dgm:pt modelId="{9C4161FA-E48E-4B91-B7AF-0211BEAAAE62}">
      <dgm:prSet phldrT="[Text]"/>
      <dgm:spPr/>
      <dgm:t>
        <a:bodyPr/>
        <a:lstStyle/>
        <a:p>
          <a:r>
            <a:rPr lang="en-GB" dirty="0"/>
            <a:t>Data is out of range</a:t>
          </a:r>
        </a:p>
      </dgm:t>
    </dgm:pt>
    <dgm:pt modelId="{E506373E-90B8-4671-B131-04C96F461BD1}" type="parTrans" cxnId="{E63BFC2A-EF08-41B2-9B77-561BBCEECA51}">
      <dgm:prSet/>
      <dgm:spPr/>
      <dgm:t>
        <a:bodyPr/>
        <a:lstStyle/>
        <a:p>
          <a:endParaRPr lang="en-GB"/>
        </a:p>
      </dgm:t>
    </dgm:pt>
    <dgm:pt modelId="{20ACA502-2090-437C-9F07-DCEA3F202747}" type="sibTrans" cxnId="{E63BFC2A-EF08-41B2-9B77-561BBCEECA51}">
      <dgm:prSet/>
      <dgm:spPr/>
      <dgm:t>
        <a:bodyPr/>
        <a:lstStyle/>
        <a:p>
          <a:endParaRPr lang="en-GB"/>
        </a:p>
      </dgm:t>
    </dgm:pt>
    <dgm:pt modelId="{76F21C1E-C77B-4678-92C3-03CAAF458546}">
      <dgm:prSet phldrT="[Text]"/>
      <dgm:spPr/>
      <dgm:t>
        <a:bodyPr/>
        <a:lstStyle/>
        <a:p>
          <a:r>
            <a:rPr lang="en-GB" dirty="0"/>
            <a:t>Thresholding method with integrated threshold values</a:t>
          </a:r>
        </a:p>
      </dgm:t>
    </dgm:pt>
    <dgm:pt modelId="{7C9596A9-8FAD-44FD-AE40-7D508BFEBC6D}" type="parTrans" cxnId="{ED57934C-DAA7-4D7D-B549-68B93CA8A635}">
      <dgm:prSet/>
      <dgm:spPr/>
      <dgm:t>
        <a:bodyPr/>
        <a:lstStyle/>
        <a:p>
          <a:endParaRPr lang="en-GB"/>
        </a:p>
      </dgm:t>
    </dgm:pt>
    <dgm:pt modelId="{79F08DD6-45D3-4FF4-99E5-88176B43FAFE}" type="sibTrans" cxnId="{ED57934C-DAA7-4D7D-B549-68B93CA8A635}">
      <dgm:prSet/>
      <dgm:spPr/>
      <dgm:t>
        <a:bodyPr/>
        <a:lstStyle/>
        <a:p>
          <a:endParaRPr lang="en-GB"/>
        </a:p>
      </dgm:t>
    </dgm:pt>
    <dgm:pt modelId="{0AB623FA-4A4C-40D7-B35C-9C1B102DDECB}">
      <dgm:prSet phldrT="[Text]"/>
      <dgm:spPr/>
      <dgm:t>
        <a:bodyPr/>
        <a:lstStyle/>
        <a:p>
          <a:r>
            <a:rPr lang="en-GB" dirty="0"/>
            <a:t>Set threshold values method</a:t>
          </a:r>
        </a:p>
      </dgm:t>
    </dgm:pt>
    <dgm:pt modelId="{FF9A50FD-5719-4EB3-BCE5-86D0DF0B0A5F}" type="parTrans" cxnId="{B5983843-0894-46A5-BFDD-06BEF754CB91}">
      <dgm:prSet/>
      <dgm:spPr/>
      <dgm:t>
        <a:bodyPr/>
        <a:lstStyle/>
        <a:p>
          <a:endParaRPr lang="en-GB"/>
        </a:p>
      </dgm:t>
    </dgm:pt>
    <dgm:pt modelId="{B804BEDC-A198-48B9-BA75-149CCF4F47B0}" type="sibTrans" cxnId="{B5983843-0894-46A5-BFDD-06BEF754CB91}">
      <dgm:prSet/>
      <dgm:spPr/>
      <dgm:t>
        <a:bodyPr/>
        <a:lstStyle/>
        <a:p>
          <a:endParaRPr lang="en-GB"/>
        </a:p>
      </dgm:t>
    </dgm:pt>
    <dgm:pt modelId="{AF52B2D6-957C-43FD-ADDC-854BB2CEFEEE}" type="pres">
      <dgm:prSet presAssocID="{8F0BF72B-F934-40CD-9716-2EB679AE09E5}" presName="linearFlow" presStyleCnt="0">
        <dgm:presLayoutVars>
          <dgm:resizeHandles val="exact"/>
        </dgm:presLayoutVars>
      </dgm:prSet>
      <dgm:spPr/>
    </dgm:pt>
    <dgm:pt modelId="{EC11B482-4B24-449B-B1C0-C174B5CBB46B}" type="pres">
      <dgm:prSet presAssocID="{9C4161FA-E48E-4B91-B7AF-0211BEAAAE62}" presName="node" presStyleLbl="node1" presStyleIdx="0" presStyleCnt="3">
        <dgm:presLayoutVars>
          <dgm:bulletEnabled val="1"/>
        </dgm:presLayoutVars>
      </dgm:prSet>
      <dgm:spPr/>
    </dgm:pt>
    <dgm:pt modelId="{5CCB06E5-EA2D-4DC6-B191-81098E377D5B}" type="pres">
      <dgm:prSet presAssocID="{20ACA502-2090-437C-9F07-DCEA3F202747}" presName="sibTrans" presStyleLbl="sibTrans2D1" presStyleIdx="0" presStyleCnt="2"/>
      <dgm:spPr/>
    </dgm:pt>
    <dgm:pt modelId="{6F1EDE89-F183-4338-BF6A-9E359BAF0D12}" type="pres">
      <dgm:prSet presAssocID="{20ACA502-2090-437C-9F07-DCEA3F202747}" presName="connectorText" presStyleLbl="sibTrans2D1" presStyleIdx="0" presStyleCnt="2"/>
      <dgm:spPr/>
    </dgm:pt>
    <dgm:pt modelId="{39B86996-69D5-463B-81D8-5028AB52E09F}" type="pres">
      <dgm:prSet presAssocID="{76F21C1E-C77B-4678-92C3-03CAAF458546}" presName="node" presStyleLbl="node1" presStyleIdx="1" presStyleCnt="3">
        <dgm:presLayoutVars>
          <dgm:bulletEnabled val="1"/>
        </dgm:presLayoutVars>
      </dgm:prSet>
      <dgm:spPr/>
    </dgm:pt>
    <dgm:pt modelId="{38058D9B-21F0-4DE8-939B-907E3AA3E09B}" type="pres">
      <dgm:prSet presAssocID="{79F08DD6-45D3-4FF4-99E5-88176B43FAFE}" presName="sibTrans" presStyleLbl="sibTrans2D1" presStyleIdx="1" presStyleCnt="2"/>
      <dgm:spPr/>
    </dgm:pt>
    <dgm:pt modelId="{83D8EB6B-7944-494A-B233-54AB0A5DE6A2}" type="pres">
      <dgm:prSet presAssocID="{79F08DD6-45D3-4FF4-99E5-88176B43FAFE}" presName="connectorText" presStyleLbl="sibTrans2D1" presStyleIdx="1" presStyleCnt="2"/>
      <dgm:spPr/>
    </dgm:pt>
    <dgm:pt modelId="{83DC22C5-1661-4753-8DD1-B7792898447F}" type="pres">
      <dgm:prSet presAssocID="{0AB623FA-4A4C-40D7-B35C-9C1B102DDECB}" presName="node" presStyleLbl="node1" presStyleIdx="2" presStyleCnt="3">
        <dgm:presLayoutVars>
          <dgm:bulletEnabled val="1"/>
        </dgm:presLayoutVars>
      </dgm:prSet>
      <dgm:spPr/>
    </dgm:pt>
  </dgm:ptLst>
  <dgm:cxnLst>
    <dgm:cxn modelId="{70CE3E0A-DA2F-45D4-A5EB-E9DABB761D0F}" type="presOf" srcId="{20ACA502-2090-437C-9F07-DCEA3F202747}" destId="{6F1EDE89-F183-4338-BF6A-9E359BAF0D12}" srcOrd="1" destOrd="0" presId="urn:microsoft.com/office/officeart/2005/8/layout/process2"/>
    <dgm:cxn modelId="{1DFD2D18-DD7F-48F6-9255-C7353B946FD7}" type="presOf" srcId="{20ACA502-2090-437C-9F07-DCEA3F202747}" destId="{5CCB06E5-EA2D-4DC6-B191-81098E377D5B}" srcOrd="0" destOrd="0" presId="urn:microsoft.com/office/officeart/2005/8/layout/process2"/>
    <dgm:cxn modelId="{11FAD319-256D-4A79-A2F7-CFF34F7DA483}" type="presOf" srcId="{79F08DD6-45D3-4FF4-99E5-88176B43FAFE}" destId="{83D8EB6B-7944-494A-B233-54AB0A5DE6A2}" srcOrd="1" destOrd="0" presId="urn:microsoft.com/office/officeart/2005/8/layout/process2"/>
    <dgm:cxn modelId="{BFBA8C1D-4800-4230-AFCE-AE26B7D6105D}" type="presOf" srcId="{76F21C1E-C77B-4678-92C3-03CAAF458546}" destId="{39B86996-69D5-463B-81D8-5028AB52E09F}" srcOrd="0" destOrd="0" presId="urn:microsoft.com/office/officeart/2005/8/layout/process2"/>
    <dgm:cxn modelId="{C31A962A-F041-426B-80C9-01F6800A06EF}" type="presOf" srcId="{8F0BF72B-F934-40CD-9716-2EB679AE09E5}" destId="{AF52B2D6-957C-43FD-ADDC-854BB2CEFEEE}" srcOrd="0" destOrd="0" presId="urn:microsoft.com/office/officeart/2005/8/layout/process2"/>
    <dgm:cxn modelId="{E63BFC2A-EF08-41B2-9B77-561BBCEECA51}" srcId="{8F0BF72B-F934-40CD-9716-2EB679AE09E5}" destId="{9C4161FA-E48E-4B91-B7AF-0211BEAAAE62}" srcOrd="0" destOrd="0" parTransId="{E506373E-90B8-4671-B131-04C96F461BD1}" sibTransId="{20ACA502-2090-437C-9F07-DCEA3F202747}"/>
    <dgm:cxn modelId="{B5983843-0894-46A5-BFDD-06BEF754CB91}" srcId="{8F0BF72B-F934-40CD-9716-2EB679AE09E5}" destId="{0AB623FA-4A4C-40D7-B35C-9C1B102DDECB}" srcOrd="2" destOrd="0" parTransId="{FF9A50FD-5719-4EB3-BCE5-86D0DF0B0A5F}" sibTransId="{B804BEDC-A198-48B9-BA75-149CCF4F47B0}"/>
    <dgm:cxn modelId="{8E92F369-EC7B-48FB-8E0F-8F1E47F1CE46}" type="presOf" srcId="{0AB623FA-4A4C-40D7-B35C-9C1B102DDECB}" destId="{83DC22C5-1661-4753-8DD1-B7792898447F}" srcOrd="0" destOrd="0" presId="urn:microsoft.com/office/officeart/2005/8/layout/process2"/>
    <dgm:cxn modelId="{ED57934C-DAA7-4D7D-B549-68B93CA8A635}" srcId="{8F0BF72B-F934-40CD-9716-2EB679AE09E5}" destId="{76F21C1E-C77B-4678-92C3-03CAAF458546}" srcOrd="1" destOrd="0" parTransId="{7C9596A9-8FAD-44FD-AE40-7D508BFEBC6D}" sibTransId="{79F08DD6-45D3-4FF4-99E5-88176B43FAFE}"/>
    <dgm:cxn modelId="{B9584B7D-6498-4214-85B2-D44176A62056}" type="presOf" srcId="{79F08DD6-45D3-4FF4-99E5-88176B43FAFE}" destId="{38058D9B-21F0-4DE8-939B-907E3AA3E09B}" srcOrd="0" destOrd="0" presId="urn:microsoft.com/office/officeart/2005/8/layout/process2"/>
    <dgm:cxn modelId="{2AAA1588-E990-4C01-8981-F60C391058DD}" type="presOf" srcId="{9C4161FA-E48E-4B91-B7AF-0211BEAAAE62}" destId="{EC11B482-4B24-449B-B1C0-C174B5CBB46B}" srcOrd="0" destOrd="0" presId="urn:microsoft.com/office/officeart/2005/8/layout/process2"/>
    <dgm:cxn modelId="{17220600-32F2-47FB-91C7-5A481F039F2D}" type="presParOf" srcId="{AF52B2D6-957C-43FD-ADDC-854BB2CEFEEE}" destId="{EC11B482-4B24-449B-B1C0-C174B5CBB46B}" srcOrd="0" destOrd="0" presId="urn:microsoft.com/office/officeart/2005/8/layout/process2"/>
    <dgm:cxn modelId="{F61828A8-67E3-4B1B-87B5-C72BA0502A3E}" type="presParOf" srcId="{AF52B2D6-957C-43FD-ADDC-854BB2CEFEEE}" destId="{5CCB06E5-EA2D-4DC6-B191-81098E377D5B}" srcOrd="1" destOrd="0" presId="urn:microsoft.com/office/officeart/2005/8/layout/process2"/>
    <dgm:cxn modelId="{7800A462-271A-425E-8F1F-DA9BEFF5F6D7}" type="presParOf" srcId="{5CCB06E5-EA2D-4DC6-B191-81098E377D5B}" destId="{6F1EDE89-F183-4338-BF6A-9E359BAF0D12}" srcOrd="0" destOrd="0" presId="urn:microsoft.com/office/officeart/2005/8/layout/process2"/>
    <dgm:cxn modelId="{87F99D01-541A-47EF-9DC0-5D4F2F53B7B0}" type="presParOf" srcId="{AF52B2D6-957C-43FD-ADDC-854BB2CEFEEE}" destId="{39B86996-69D5-463B-81D8-5028AB52E09F}" srcOrd="2" destOrd="0" presId="urn:microsoft.com/office/officeart/2005/8/layout/process2"/>
    <dgm:cxn modelId="{6945C5C8-158B-4D9D-8F0A-174889AEC717}" type="presParOf" srcId="{AF52B2D6-957C-43FD-ADDC-854BB2CEFEEE}" destId="{38058D9B-21F0-4DE8-939B-907E3AA3E09B}" srcOrd="3" destOrd="0" presId="urn:microsoft.com/office/officeart/2005/8/layout/process2"/>
    <dgm:cxn modelId="{6DB96745-33B1-4589-8CE1-322E9E3CEFCC}" type="presParOf" srcId="{38058D9B-21F0-4DE8-939B-907E3AA3E09B}" destId="{83D8EB6B-7944-494A-B233-54AB0A5DE6A2}" srcOrd="0" destOrd="0" presId="urn:microsoft.com/office/officeart/2005/8/layout/process2"/>
    <dgm:cxn modelId="{C6EB4139-4010-44D0-B6CE-A70DC19A1DF7}" type="presParOf" srcId="{AF52B2D6-957C-43FD-ADDC-854BB2CEFEEE}" destId="{83DC22C5-1661-4753-8DD1-B7792898447F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0699A76-B6EE-494D-AE31-AA0B4B4475CB}" type="doc">
      <dgm:prSet loTypeId="urn:microsoft.com/office/officeart/2005/8/layout/process2" loCatId="process" qsTypeId="urn:microsoft.com/office/officeart/2005/8/quickstyle/simple1" qsCatId="simple" csTypeId="urn:microsoft.com/office/officeart/2005/8/colors/accent3_1" csCatId="accent3" phldr="1"/>
      <dgm:spPr/>
    </dgm:pt>
    <dgm:pt modelId="{E7B3831F-5A1A-434D-8AC5-E4A1D05A4B98}">
      <dgm:prSet phldrT="[Text]"/>
      <dgm:spPr/>
      <dgm:t>
        <a:bodyPr/>
        <a:lstStyle/>
        <a:p>
          <a:r>
            <a:rPr lang="en-GB"/>
            <a:t>Closed choke and moving choke corrupt models and data</a:t>
          </a:r>
          <a:endParaRPr lang="en-GB" dirty="0"/>
        </a:p>
      </dgm:t>
    </dgm:pt>
    <dgm:pt modelId="{0A14D816-4AFC-4378-AA36-A5477D329207}" type="parTrans" cxnId="{0AB275A9-422D-4CB7-AAE6-DF2DB5D1F00A}">
      <dgm:prSet/>
      <dgm:spPr/>
      <dgm:t>
        <a:bodyPr/>
        <a:lstStyle/>
        <a:p>
          <a:endParaRPr lang="en-GB"/>
        </a:p>
      </dgm:t>
    </dgm:pt>
    <dgm:pt modelId="{708762A9-B86B-45E8-83ED-8ED629CD85B6}" type="sibTrans" cxnId="{0AB275A9-422D-4CB7-AAE6-DF2DB5D1F00A}">
      <dgm:prSet/>
      <dgm:spPr/>
      <dgm:t>
        <a:bodyPr/>
        <a:lstStyle/>
        <a:p>
          <a:endParaRPr lang="en-GB"/>
        </a:p>
      </dgm:t>
    </dgm:pt>
    <dgm:pt modelId="{946AE853-C746-403A-A08F-23A9185F0592}">
      <dgm:prSet phldrT="[Text]"/>
      <dgm:spPr/>
      <dgm:t>
        <a:bodyPr/>
        <a:lstStyle/>
        <a:p>
          <a:r>
            <a:rPr lang="en-GB" dirty="0"/>
            <a:t>Clean choke method, above 99%</a:t>
          </a:r>
        </a:p>
      </dgm:t>
    </dgm:pt>
    <dgm:pt modelId="{721961B1-EBD7-4AA7-BCE5-73A91EE08E37}" type="parTrans" cxnId="{6A7AE8D0-9913-4378-868A-5A80854556B5}">
      <dgm:prSet/>
      <dgm:spPr/>
      <dgm:t>
        <a:bodyPr/>
        <a:lstStyle/>
        <a:p>
          <a:endParaRPr lang="en-GB"/>
        </a:p>
      </dgm:t>
    </dgm:pt>
    <dgm:pt modelId="{692E9974-B4E6-4BA8-96D0-9239B11FF3B3}" type="sibTrans" cxnId="{6A7AE8D0-9913-4378-868A-5A80854556B5}">
      <dgm:prSet/>
      <dgm:spPr/>
      <dgm:t>
        <a:bodyPr/>
        <a:lstStyle/>
        <a:p>
          <a:endParaRPr lang="en-GB"/>
        </a:p>
      </dgm:t>
    </dgm:pt>
    <dgm:pt modelId="{A6F08AC7-D2DD-4577-862F-B506D6E372CF}">
      <dgm:prSet phldrT="[Text]"/>
      <dgm:spPr/>
      <dgm:t>
        <a:bodyPr/>
        <a:lstStyle/>
        <a:p>
          <a:r>
            <a:rPr lang="en-GB" dirty="0"/>
            <a:t>Clean choke method, above 5% and not transitioning</a:t>
          </a:r>
        </a:p>
      </dgm:t>
    </dgm:pt>
    <dgm:pt modelId="{AFF883BA-BBE2-48DE-91D1-7374DB494020}" type="parTrans" cxnId="{C1E4DFA1-5C2D-475C-9C00-288435ECC6F0}">
      <dgm:prSet/>
      <dgm:spPr/>
      <dgm:t>
        <a:bodyPr/>
        <a:lstStyle/>
        <a:p>
          <a:endParaRPr lang="en-GB"/>
        </a:p>
      </dgm:t>
    </dgm:pt>
    <dgm:pt modelId="{433EEFFE-7B6A-4486-BDEC-3C14FA18B953}" type="sibTrans" cxnId="{C1E4DFA1-5C2D-475C-9C00-288435ECC6F0}">
      <dgm:prSet/>
      <dgm:spPr/>
      <dgm:t>
        <a:bodyPr/>
        <a:lstStyle/>
        <a:p>
          <a:endParaRPr lang="en-GB"/>
        </a:p>
      </dgm:t>
    </dgm:pt>
    <dgm:pt modelId="{A8C4EB9C-B300-4652-828C-20FCE562EBE2}" type="pres">
      <dgm:prSet presAssocID="{70699A76-B6EE-494D-AE31-AA0B4B4475CB}" presName="linearFlow" presStyleCnt="0">
        <dgm:presLayoutVars>
          <dgm:resizeHandles val="exact"/>
        </dgm:presLayoutVars>
      </dgm:prSet>
      <dgm:spPr/>
    </dgm:pt>
    <dgm:pt modelId="{6A076697-4557-4F94-AB5A-A247750986CE}" type="pres">
      <dgm:prSet presAssocID="{E7B3831F-5A1A-434D-8AC5-E4A1D05A4B98}" presName="node" presStyleLbl="node1" presStyleIdx="0" presStyleCnt="3">
        <dgm:presLayoutVars>
          <dgm:bulletEnabled val="1"/>
        </dgm:presLayoutVars>
      </dgm:prSet>
      <dgm:spPr/>
    </dgm:pt>
    <dgm:pt modelId="{82663738-87B9-4EA3-9350-EB99D0F39562}" type="pres">
      <dgm:prSet presAssocID="{708762A9-B86B-45E8-83ED-8ED629CD85B6}" presName="sibTrans" presStyleLbl="sibTrans2D1" presStyleIdx="0" presStyleCnt="2"/>
      <dgm:spPr/>
    </dgm:pt>
    <dgm:pt modelId="{064EA616-D3EE-4F28-A7DA-042A27357B75}" type="pres">
      <dgm:prSet presAssocID="{708762A9-B86B-45E8-83ED-8ED629CD85B6}" presName="connectorText" presStyleLbl="sibTrans2D1" presStyleIdx="0" presStyleCnt="2"/>
      <dgm:spPr/>
    </dgm:pt>
    <dgm:pt modelId="{A3625A7B-30BE-4A13-87EF-E9CD1F814910}" type="pres">
      <dgm:prSet presAssocID="{946AE853-C746-403A-A08F-23A9185F0592}" presName="node" presStyleLbl="node1" presStyleIdx="1" presStyleCnt="3">
        <dgm:presLayoutVars>
          <dgm:bulletEnabled val="1"/>
        </dgm:presLayoutVars>
      </dgm:prSet>
      <dgm:spPr/>
    </dgm:pt>
    <dgm:pt modelId="{3761BD14-7BCE-4742-B826-E62028DE0652}" type="pres">
      <dgm:prSet presAssocID="{692E9974-B4E6-4BA8-96D0-9239B11FF3B3}" presName="sibTrans" presStyleLbl="sibTrans2D1" presStyleIdx="1" presStyleCnt="2"/>
      <dgm:spPr/>
    </dgm:pt>
    <dgm:pt modelId="{D4B5EAE1-B1EB-468A-9526-47518FC61915}" type="pres">
      <dgm:prSet presAssocID="{692E9974-B4E6-4BA8-96D0-9239B11FF3B3}" presName="connectorText" presStyleLbl="sibTrans2D1" presStyleIdx="1" presStyleCnt="2"/>
      <dgm:spPr/>
    </dgm:pt>
    <dgm:pt modelId="{75D709D9-2DB9-4B51-9312-D62BA29BE6B5}" type="pres">
      <dgm:prSet presAssocID="{A6F08AC7-D2DD-4577-862F-B506D6E372CF}" presName="node" presStyleLbl="node1" presStyleIdx="2" presStyleCnt="3">
        <dgm:presLayoutVars>
          <dgm:bulletEnabled val="1"/>
        </dgm:presLayoutVars>
      </dgm:prSet>
      <dgm:spPr/>
    </dgm:pt>
  </dgm:ptLst>
  <dgm:cxnLst>
    <dgm:cxn modelId="{C7AFF069-2386-471D-9DAA-3FBFB2819BC6}" type="presOf" srcId="{E7B3831F-5A1A-434D-8AC5-E4A1D05A4B98}" destId="{6A076697-4557-4F94-AB5A-A247750986CE}" srcOrd="0" destOrd="0" presId="urn:microsoft.com/office/officeart/2005/8/layout/process2"/>
    <dgm:cxn modelId="{FA14D271-AE0C-46C2-9112-F6192A558F8D}" type="presOf" srcId="{692E9974-B4E6-4BA8-96D0-9239B11FF3B3}" destId="{D4B5EAE1-B1EB-468A-9526-47518FC61915}" srcOrd="1" destOrd="0" presId="urn:microsoft.com/office/officeart/2005/8/layout/process2"/>
    <dgm:cxn modelId="{0D0B687E-7A33-4B4B-AA32-1C541D431E0F}" type="presOf" srcId="{708762A9-B86B-45E8-83ED-8ED629CD85B6}" destId="{82663738-87B9-4EA3-9350-EB99D0F39562}" srcOrd="0" destOrd="0" presId="urn:microsoft.com/office/officeart/2005/8/layout/process2"/>
    <dgm:cxn modelId="{29D88080-1907-4721-A3B1-9E1E93C9B6FE}" type="presOf" srcId="{708762A9-B86B-45E8-83ED-8ED629CD85B6}" destId="{064EA616-D3EE-4F28-A7DA-042A27357B75}" srcOrd="1" destOrd="0" presId="urn:microsoft.com/office/officeart/2005/8/layout/process2"/>
    <dgm:cxn modelId="{C1E4DFA1-5C2D-475C-9C00-288435ECC6F0}" srcId="{70699A76-B6EE-494D-AE31-AA0B4B4475CB}" destId="{A6F08AC7-D2DD-4577-862F-B506D6E372CF}" srcOrd="2" destOrd="0" parTransId="{AFF883BA-BBE2-48DE-91D1-7374DB494020}" sibTransId="{433EEFFE-7B6A-4486-BDEC-3C14FA18B953}"/>
    <dgm:cxn modelId="{33D6BAA4-DD34-467E-B32E-79A9B5A90FE3}" type="presOf" srcId="{692E9974-B4E6-4BA8-96D0-9239B11FF3B3}" destId="{3761BD14-7BCE-4742-B826-E62028DE0652}" srcOrd="0" destOrd="0" presId="urn:microsoft.com/office/officeart/2005/8/layout/process2"/>
    <dgm:cxn modelId="{0AB275A9-422D-4CB7-AAE6-DF2DB5D1F00A}" srcId="{70699A76-B6EE-494D-AE31-AA0B4B4475CB}" destId="{E7B3831F-5A1A-434D-8AC5-E4A1D05A4B98}" srcOrd="0" destOrd="0" parTransId="{0A14D816-4AFC-4378-AA36-A5477D329207}" sibTransId="{708762A9-B86B-45E8-83ED-8ED629CD85B6}"/>
    <dgm:cxn modelId="{799219B3-6B97-4266-B741-D1E6C928456B}" type="presOf" srcId="{946AE853-C746-403A-A08F-23A9185F0592}" destId="{A3625A7B-30BE-4A13-87EF-E9CD1F814910}" srcOrd="0" destOrd="0" presId="urn:microsoft.com/office/officeart/2005/8/layout/process2"/>
    <dgm:cxn modelId="{6A7AE8D0-9913-4378-868A-5A80854556B5}" srcId="{70699A76-B6EE-494D-AE31-AA0B4B4475CB}" destId="{946AE853-C746-403A-A08F-23A9185F0592}" srcOrd="1" destOrd="0" parTransId="{721961B1-EBD7-4AA7-BCE5-73A91EE08E37}" sibTransId="{692E9974-B4E6-4BA8-96D0-9239B11FF3B3}"/>
    <dgm:cxn modelId="{3D4FBADF-89F4-4F41-877A-597862481695}" type="presOf" srcId="{A6F08AC7-D2DD-4577-862F-B506D6E372CF}" destId="{75D709D9-2DB9-4B51-9312-D62BA29BE6B5}" srcOrd="0" destOrd="0" presId="urn:microsoft.com/office/officeart/2005/8/layout/process2"/>
    <dgm:cxn modelId="{EBA17EFF-4F59-4793-B817-D0ED4370F257}" type="presOf" srcId="{70699A76-B6EE-494D-AE31-AA0B4B4475CB}" destId="{A8C4EB9C-B300-4652-828C-20FCE562EBE2}" srcOrd="0" destOrd="0" presId="urn:microsoft.com/office/officeart/2005/8/layout/process2"/>
    <dgm:cxn modelId="{588FFD99-9E9A-4D4E-A92F-CE4936355A33}" type="presParOf" srcId="{A8C4EB9C-B300-4652-828C-20FCE562EBE2}" destId="{6A076697-4557-4F94-AB5A-A247750986CE}" srcOrd="0" destOrd="0" presId="urn:microsoft.com/office/officeart/2005/8/layout/process2"/>
    <dgm:cxn modelId="{ABE6AFE6-072D-455B-9614-F160390844C6}" type="presParOf" srcId="{A8C4EB9C-B300-4652-828C-20FCE562EBE2}" destId="{82663738-87B9-4EA3-9350-EB99D0F39562}" srcOrd="1" destOrd="0" presId="urn:microsoft.com/office/officeart/2005/8/layout/process2"/>
    <dgm:cxn modelId="{E2239D5C-D543-4567-996E-8174FCC730AD}" type="presParOf" srcId="{82663738-87B9-4EA3-9350-EB99D0F39562}" destId="{064EA616-D3EE-4F28-A7DA-042A27357B75}" srcOrd="0" destOrd="0" presId="urn:microsoft.com/office/officeart/2005/8/layout/process2"/>
    <dgm:cxn modelId="{3B03E1C4-0172-496C-B1E1-F0279D1C7C8A}" type="presParOf" srcId="{A8C4EB9C-B300-4652-828C-20FCE562EBE2}" destId="{A3625A7B-30BE-4A13-87EF-E9CD1F814910}" srcOrd="2" destOrd="0" presId="urn:microsoft.com/office/officeart/2005/8/layout/process2"/>
    <dgm:cxn modelId="{B622C3C3-2FC6-4751-BE7D-AD6F07464AD3}" type="presParOf" srcId="{A8C4EB9C-B300-4652-828C-20FCE562EBE2}" destId="{3761BD14-7BCE-4742-B826-E62028DE0652}" srcOrd="3" destOrd="0" presId="urn:microsoft.com/office/officeart/2005/8/layout/process2"/>
    <dgm:cxn modelId="{B221B84C-4825-404A-BFA6-E8A8A7D222FA}" type="presParOf" srcId="{3761BD14-7BCE-4742-B826-E62028DE0652}" destId="{D4B5EAE1-B1EB-468A-9526-47518FC61915}" srcOrd="0" destOrd="0" presId="urn:microsoft.com/office/officeart/2005/8/layout/process2"/>
    <dgm:cxn modelId="{43D40D17-10CC-48C0-8190-68A242AD93D1}" type="presParOf" srcId="{A8C4EB9C-B300-4652-828C-20FCE562EBE2}" destId="{75D709D9-2DB9-4B51-9312-D62BA29BE6B5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0699A76-B6EE-494D-AE31-AA0B4B4475CB}" type="doc">
      <dgm:prSet loTypeId="urn:microsoft.com/office/officeart/2005/8/layout/process2" loCatId="process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GB"/>
        </a:p>
      </dgm:t>
    </dgm:pt>
    <dgm:pt modelId="{B7E4145E-0697-41E7-8A1E-43EF4CA98CF3}">
      <dgm:prSet phldrT="[Text]"/>
      <dgm:spPr/>
      <dgm:t>
        <a:bodyPr/>
        <a:lstStyle/>
        <a:p>
          <a:r>
            <a:rPr lang="en-GB" dirty="0"/>
            <a:t>Slug behaviour and DHP range are changing over 10 years</a:t>
          </a:r>
        </a:p>
      </dgm:t>
    </dgm:pt>
    <dgm:pt modelId="{F02BEB0F-3641-4F36-A58C-5832BA314DEC}" type="parTrans" cxnId="{FA2041FC-70C7-4D90-A703-861A6E11FC8F}">
      <dgm:prSet/>
      <dgm:spPr/>
      <dgm:t>
        <a:bodyPr/>
        <a:lstStyle/>
        <a:p>
          <a:endParaRPr lang="en-GB"/>
        </a:p>
      </dgm:t>
    </dgm:pt>
    <dgm:pt modelId="{65A91B1B-3A93-4831-888D-F036986C10CA}" type="sibTrans" cxnId="{FA2041FC-70C7-4D90-A703-861A6E11FC8F}">
      <dgm:prSet/>
      <dgm:spPr/>
      <dgm:t>
        <a:bodyPr/>
        <a:lstStyle/>
        <a:p>
          <a:endParaRPr lang="en-GB"/>
        </a:p>
      </dgm:t>
    </dgm:pt>
    <dgm:pt modelId="{48AC27BB-912D-494C-88EF-8F6EA950C853}">
      <dgm:prSet phldrT="[Text]"/>
      <dgm:spPr/>
      <dgm:t>
        <a:bodyPr/>
        <a:lstStyle/>
        <a:p>
          <a:r>
            <a:rPr lang="en-GB" dirty="0"/>
            <a:t>Time range cropping method</a:t>
          </a:r>
        </a:p>
      </dgm:t>
    </dgm:pt>
    <dgm:pt modelId="{84CB78D8-20DF-47B1-A5F1-5AC292CCF95B}" type="parTrans" cxnId="{99B61ADE-EB08-4B37-8406-A5793706B8FB}">
      <dgm:prSet/>
      <dgm:spPr/>
      <dgm:t>
        <a:bodyPr/>
        <a:lstStyle/>
        <a:p>
          <a:endParaRPr lang="en-GB"/>
        </a:p>
      </dgm:t>
    </dgm:pt>
    <dgm:pt modelId="{0F91EE81-7602-4641-9394-88DA25B84DA7}" type="sibTrans" cxnId="{99B61ADE-EB08-4B37-8406-A5793706B8FB}">
      <dgm:prSet/>
      <dgm:spPr/>
      <dgm:t>
        <a:bodyPr/>
        <a:lstStyle/>
        <a:p>
          <a:endParaRPr lang="en-GB"/>
        </a:p>
      </dgm:t>
    </dgm:pt>
    <dgm:pt modelId="{4875BDEC-6A25-49FD-9B14-3A4BEF99B9A0}">
      <dgm:prSet phldrT="[Text]"/>
      <dgm:spPr/>
      <dgm:t>
        <a:bodyPr/>
        <a:lstStyle/>
        <a:p>
          <a:r>
            <a:rPr lang="en-GB" dirty="0"/>
            <a:t>Reset method </a:t>
          </a:r>
        </a:p>
      </dgm:t>
    </dgm:pt>
    <dgm:pt modelId="{12D8CEBA-AFBF-4186-96DF-288793D60524}" type="parTrans" cxnId="{CF31C05B-606C-4BF9-9768-C176BF3B0BC4}">
      <dgm:prSet/>
      <dgm:spPr/>
      <dgm:t>
        <a:bodyPr/>
        <a:lstStyle/>
        <a:p>
          <a:endParaRPr lang="en-GB"/>
        </a:p>
      </dgm:t>
    </dgm:pt>
    <dgm:pt modelId="{B2D6E230-DA13-4CEA-8233-EA8CAA3DFA88}" type="sibTrans" cxnId="{CF31C05B-606C-4BF9-9768-C176BF3B0BC4}">
      <dgm:prSet/>
      <dgm:spPr/>
      <dgm:t>
        <a:bodyPr/>
        <a:lstStyle/>
        <a:p>
          <a:endParaRPr lang="en-GB"/>
        </a:p>
      </dgm:t>
    </dgm:pt>
    <dgm:pt modelId="{A8C4EB9C-B300-4652-828C-20FCE562EBE2}" type="pres">
      <dgm:prSet presAssocID="{70699A76-B6EE-494D-AE31-AA0B4B4475CB}" presName="linearFlow" presStyleCnt="0">
        <dgm:presLayoutVars>
          <dgm:resizeHandles val="exact"/>
        </dgm:presLayoutVars>
      </dgm:prSet>
      <dgm:spPr/>
    </dgm:pt>
    <dgm:pt modelId="{B93EF756-BF24-413C-B60C-C14250A195E2}" type="pres">
      <dgm:prSet presAssocID="{B7E4145E-0697-41E7-8A1E-43EF4CA98CF3}" presName="node" presStyleLbl="node1" presStyleIdx="0" presStyleCnt="3">
        <dgm:presLayoutVars>
          <dgm:bulletEnabled val="1"/>
        </dgm:presLayoutVars>
      </dgm:prSet>
      <dgm:spPr/>
    </dgm:pt>
    <dgm:pt modelId="{A16746DD-7911-4C78-BC8C-573956582D49}" type="pres">
      <dgm:prSet presAssocID="{65A91B1B-3A93-4831-888D-F036986C10CA}" presName="sibTrans" presStyleLbl="sibTrans2D1" presStyleIdx="0" presStyleCnt="2"/>
      <dgm:spPr/>
    </dgm:pt>
    <dgm:pt modelId="{BEAA4D0B-0537-4110-8DD6-1BC4B90B872A}" type="pres">
      <dgm:prSet presAssocID="{65A91B1B-3A93-4831-888D-F036986C10CA}" presName="connectorText" presStyleLbl="sibTrans2D1" presStyleIdx="0" presStyleCnt="2"/>
      <dgm:spPr/>
    </dgm:pt>
    <dgm:pt modelId="{BB88FF79-B411-4228-B6AA-A3B2AD58B3EB}" type="pres">
      <dgm:prSet presAssocID="{48AC27BB-912D-494C-88EF-8F6EA950C853}" presName="node" presStyleLbl="node1" presStyleIdx="1" presStyleCnt="3">
        <dgm:presLayoutVars>
          <dgm:bulletEnabled val="1"/>
        </dgm:presLayoutVars>
      </dgm:prSet>
      <dgm:spPr/>
    </dgm:pt>
    <dgm:pt modelId="{9D7CAF42-AFC7-4042-9764-4E0D0D6C7658}" type="pres">
      <dgm:prSet presAssocID="{0F91EE81-7602-4641-9394-88DA25B84DA7}" presName="sibTrans" presStyleLbl="sibTrans2D1" presStyleIdx="1" presStyleCnt="2"/>
      <dgm:spPr/>
    </dgm:pt>
    <dgm:pt modelId="{6523C4DF-26AC-4D80-93DF-944E80072934}" type="pres">
      <dgm:prSet presAssocID="{0F91EE81-7602-4641-9394-88DA25B84DA7}" presName="connectorText" presStyleLbl="sibTrans2D1" presStyleIdx="1" presStyleCnt="2"/>
      <dgm:spPr/>
    </dgm:pt>
    <dgm:pt modelId="{2772D653-D53B-4581-8156-BF539E4208DD}" type="pres">
      <dgm:prSet presAssocID="{4875BDEC-6A25-49FD-9B14-3A4BEF99B9A0}" presName="node" presStyleLbl="node1" presStyleIdx="2" presStyleCnt="3" custLinFactNeighborY="0">
        <dgm:presLayoutVars>
          <dgm:bulletEnabled val="1"/>
        </dgm:presLayoutVars>
      </dgm:prSet>
      <dgm:spPr/>
    </dgm:pt>
  </dgm:ptLst>
  <dgm:cxnLst>
    <dgm:cxn modelId="{4F375D11-5286-46B2-9EDA-1809F88C949D}" type="presOf" srcId="{B7E4145E-0697-41E7-8A1E-43EF4CA98CF3}" destId="{B93EF756-BF24-413C-B60C-C14250A195E2}" srcOrd="0" destOrd="0" presId="urn:microsoft.com/office/officeart/2005/8/layout/process2"/>
    <dgm:cxn modelId="{ABE1113D-5EFC-415F-809D-74E2B779CDBF}" type="presOf" srcId="{0F91EE81-7602-4641-9394-88DA25B84DA7}" destId="{6523C4DF-26AC-4D80-93DF-944E80072934}" srcOrd="1" destOrd="0" presId="urn:microsoft.com/office/officeart/2005/8/layout/process2"/>
    <dgm:cxn modelId="{CF31C05B-606C-4BF9-9768-C176BF3B0BC4}" srcId="{70699A76-B6EE-494D-AE31-AA0B4B4475CB}" destId="{4875BDEC-6A25-49FD-9B14-3A4BEF99B9A0}" srcOrd="2" destOrd="0" parTransId="{12D8CEBA-AFBF-4186-96DF-288793D60524}" sibTransId="{B2D6E230-DA13-4CEA-8233-EA8CAA3DFA88}"/>
    <dgm:cxn modelId="{948ABF49-F932-4366-B1DD-2CDFF63A816A}" type="presOf" srcId="{0F91EE81-7602-4641-9394-88DA25B84DA7}" destId="{9D7CAF42-AFC7-4042-9764-4E0D0D6C7658}" srcOrd="0" destOrd="0" presId="urn:microsoft.com/office/officeart/2005/8/layout/process2"/>
    <dgm:cxn modelId="{07EC9E70-0195-413E-A42F-D42308B23DFB}" type="presOf" srcId="{65A91B1B-3A93-4831-888D-F036986C10CA}" destId="{BEAA4D0B-0537-4110-8DD6-1BC4B90B872A}" srcOrd="1" destOrd="0" presId="urn:microsoft.com/office/officeart/2005/8/layout/process2"/>
    <dgm:cxn modelId="{958B5D5A-FBC5-4651-8BF5-D32405999CFF}" type="presOf" srcId="{65A91B1B-3A93-4831-888D-F036986C10CA}" destId="{A16746DD-7911-4C78-BC8C-573956582D49}" srcOrd="0" destOrd="0" presId="urn:microsoft.com/office/officeart/2005/8/layout/process2"/>
    <dgm:cxn modelId="{D76B3991-90A5-4244-9EBB-B4BD7E9309FD}" type="presOf" srcId="{48AC27BB-912D-494C-88EF-8F6EA950C853}" destId="{BB88FF79-B411-4228-B6AA-A3B2AD58B3EB}" srcOrd="0" destOrd="0" presId="urn:microsoft.com/office/officeart/2005/8/layout/process2"/>
    <dgm:cxn modelId="{2FF4F9B1-FDFC-422E-8859-C5F985208F50}" type="presOf" srcId="{4875BDEC-6A25-49FD-9B14-3A4BEF99B9A0}" destId="{2772D653-D53B-4581-8156-BF539E4208DD}" srcOrd="0" destOrd="0" presId="urn:microsoft.com/office/officeart/2005/8/layout/process2"/>
    <dgm:cxn modelId="{99B61ADE-EB08-4B37-8406-A5793706B8FB}" srcId="{70699A76-B6EE-494D-AE31-AA0B4B4475CB}" destId="{48AC27BB-912D-494C-88EF-8F6EA950C853}" srcOrd="1" destOrd="0" parTransId="{84CB78D8-20DF-47B1-A5F1-5AC292CCF95B}" sibTransId="{0F91EE81-7602-4641-9394-88DA25B84DA7}"/>
    <dgm:cxn modelId="{FA2041FC-70C7-4D90-A703-861A6E11FC8F}" srcId="{70699A76-B6EE-494D-AE31-AA0B4B4475CB}" destId="{B7E4145E-0697-41E7-8A1E-43EF4CA98CF3}" srcOrd="0" destOrd="0" parTransId="{F02BEB0F-3641-4F36-A58C-5832BA314DEC}" sibTransId="{65A91B1B-3A93-4831-888D-F036986C10CA}"/>
    <dgm:cxn modelId="{EBA17EFF-4F59-4793-B817-D0ED4370F257}" type="presOf" srcId="{70699A76-B6EE-494D-AE31-AA0B4B4475CB}" destId="{A8C4EB9C-B300-4652-828C-20FCE562EBE2}" srcOrd="0" destOrd="0" presId="urn:microsoft.com/office/officeart/2005/8/layout/process2"/>
    <dgm:cxn modelId="{9332DFD8-F02D-48EB-9EB1-58E94C3C4623}" type="presParOf" srcId="{A8C4EB9C-B300-4652-828C-20FCE562EBE2}" destId="{B93EF756-BF24-413C-B60C-C14250A195E2}" srcOrd="0" destOrd="0" presId="urn:microsoft.com/office/officeart/2005/8/layout/process2"/>
    <dgm:cxn modelId="{F6264E7A-2D02-41C1-B343-5F52CB24947B}" type="presParOf" srcId="{A8C4EB9C-B300-4652-828C-20FCE562EBE2}" destId="{A16746DD-7911-4C78-BC8C-573956582D49}" srcOrd="1" destOrd="0" presId="urn:microsoft.com/office/officeart/2005/8/layout/process2"/>
    <dgm:cxn modelId="{B058F180-BA75-4E0D-8A2B-F105B7D2C094}" type="presParOf" srcId="{A16746DD-7911-4C78-BC8C-573956582D49}" destId="{BEAA4D0B-0537-4110-8DD6-1BC4B90B872A}" srcOrd="0" destOrd="0" presId="urn:microsoft.com/office/officeart/2005/8/layout/process2"/>
    <dgm:cxn modelId="{4A9E98CD-4229-41A7-99DF-17974BA8EC4C}" type="presParOf" srcId="{A8C4EB9C-B300-4652-828C-20FCE562EBE2}" destId="{BB88FF79-B411-4228-B6AA-A3B2AD58B3EB}" srcOrd="2" destOrd="0" presId="urn:microsoft.com/office/officeart/2005/8/layout/process2"/>
    <dgm:cxn modelId="{EC01C44C-1BBF-4F8D-9A4C-D82AC86744F2}" type="presParOf" srcId="{A8C4EB9C-B300-4652-828C-20FCE562EBE2}" destId="{9D7CAF42-AFC7-4042-9764-4E0D0D6C7658}" srcOrd="3" destOrd="0" presId="urn:microsoft.com/office/officeart/2005/8/layout/process2"/>
    <dgm:cxn modelId="{F53486C7-521B-4222-A598-A50DB0264890}" type="presParOf" srcId="{9D7CAF42-AFC7-4042-9764-4E0D0D6C7658}" destId="{6523C4DF-26AC-4D80-93DF-944E80072934}" srcOrd="0" destOrd="0" presId="urn:microsoft.com/office/officeart/2005/8/layout/process2"/>
    <dgm:cxn modelId="{67DC16EF-E5E7-4885-BE1E-728C67203B3B}" type="presParOf" srcId="{A8C4EB9C-B300-4652-828C-20FCE562EBE2}" destId="{2772D653-D53B-4581-8156-BF539E4208DD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1FA48AE-914D-4462-AF2B-206FA8F9F930}" type="doc">
      <dgm:prSet loTypeId="urn:microsoft.com/office/officeart/2005/8/layout/arrow2" loCatId="process" qsTypeId="urn:microsoft.com/office/officeart/2005/8/quickstyle/simple2" qsCatId="simple" csTypeId="urn:microsoft.com/office/officeart/2005/8/colors/accent3_2" csCatId="accent3" phldr="1"/>
      <dgm:spPr/>
      <dgm:t>
        <a:bodyPr/>
        <a:lstStyle/>
        <a:p>
          <a:endParaRPr lang="en-GB"/>
        </a:p>
      </dgm:t>
    </dgm:pt>
    <dgm:pt modelId="{3533C102-1C21-4EFC-AACB-9E6B31054CED}">
      <dgm:prSet phldrT="[Text]"/>
      <dgm:spPr/>
      <dgm:t>
        <a:bodyPr/>
        <a:lstStyle/>
        <a:p>
          <a:r>
            <a:rPr lang="en-GB"/>
            <a:t>Slug Labelling</a:t>
          </a:r>
        </a:p>
      </dgm:t>
    </dgm:pt>
    <dgm:pt modelId="{BD4D3299-A055-4031-B6BF-EA8A6C998E31}" type="parTrans" cxnId="{5B5A3203-0159-4E5E-8E37-68D365DFD4ED}">
      <dgm:prSet/>
      <dgm:spPr/>
      <dgm:t>
        <a:bodyPr/>
        <a:lstStyle/>
        <a:p>
          <a:endParaRPr lang="en-GB"/>
        </a:p>
      </dgm:t>
    </dgm:pt>
    <dgm:pt modelId="{43D19182-DE0B-4B26-9461-A0DA298D1B19}" type="sibTrans" cxnId="{5B5A3203-0159-4E5E-8E37-68D365DFD4ED}">
      <dgm:prSet/>
      <dgm:spPr/>
      <dgm:t>
        <a:bodyPr/>
        <a:lstStyle/>
        <a:p>
          <a:endParaRPr lang="en-GB"/>
        </a:p>
      </dgm:t>
    </dgm:pt>
    <dgm:pt modelId="{61D00DCF-3C1E-4AA7-906D-BDEB2B53FDFB}">
      <dgm:prSet phldrT="[Text]"/>
      <dgm:spPr/>
      <dgm:t>
        <a:bodyPr/>
        <a:lstStyle/>
        <a:p>
          <a:r>
            <a:rPr lang="en-GB" dirty="0"/>
            <a:t>Unsupervised Learning </a:t>
          </a:r>
        </a:p>
      </dgm:t>
    </dgm:pt>
    <dgm:pt modelId="{9EDBA92A-E3FF-4AA1-BDCA-2D9E9659D614}" type="parTrans" cxnId="{A2B6617E-9196-49F8-8D45-77CDF8A7B0F6}">
      <dgm:prSet/>
      <dgm:spPr/>
      <dgm:t>
        <a:bodyPr/>
        <a:lstStyle/>
        <a:p>
          <a:endParaRPr lang="en-GB"/>
        </a:p>
      </dgm:t>
    </dgm:pt>
    <dgm:pt modelId="{FDB3DD37-898C-4A7C-B303-6935BA348848}" type="sibTrans" cxnId="{A2B6617E-9196-49F8-8D45-77CDF8A7B0F6}">
      <dgm:prSet/>
      <dgm:spPr/>
      <dgm:t>
        <a:bodyPr/>
        <a:lstStyle/>
        <a:p>
          <a:endParaRPr lang="en-GB"/>
        </a:p>
      </dgm:t>
    </dgm:pt>
    <dgm:pt modelId="{ADA124E4-BBF7-45BE-A0C2-794F9E5AC45F}">
      <dgm:prSet phldrT="[Text]"/>
      <dgm:spPr/>
      <dgm:t>
        <a:bodyPr/>
        <a:lstStyle/>
        <a:p>
          <a:r>
            <a:rPr lang="en-GB" dirty="0"/>
            <a:t>Flow Recognition</a:t>
          </a:r>
        </a:p>
      </dgm:t>
    </dgm:pt>
    <dgm:pt modelId="{D4C6786C-C0B4-4FAB-8AC5-483C05491360}" type="parTrans" cxnId="{7B864D6A-217F-40ED-B87C-663381895B01}">
      <dgm:prSet/>
      <dgm:spPr/>
      <dgm:t>
        <a:bodyPr/>
        <a:lstStyle/>
        <a:p>
          <a:endParaRPr lang="en-GB"/>
        </a:p>
      </dgm:t>
    </dgm:pt>
    <dgm:pt modelId="{3647CEF7-D6F8-48EE-9790-BE695066FA6F}" type="sibTrans" cxnId="{7B864D6A-217F-40ED-B87C-663381895B01}">
      <dgm:prSet/>
      <dgm:spPr/>
      <dgm:t>
        <a:bodyPr/>
        <a:lstStyle/>
        <a:p>
          <a:endParaRPr lang="en-GB"/>
        </a:p>
      </dgm:t>
    </dgm:pt>
    <dgm:pt modelId="{01507331-1392-4359-A2BF-7B996300514D}">
      <dgm:prSet phldrT="[Text]"/>
      <dgm:spPr/>
      <dgm:t>
        <a:bodyPr/>
        <a:lstStyle/>
        <a:p>
          <a:r>
            <a:rPr lang="en-GB" dirty="0"/>
            <a:t>Supervised Learning</a:t>
          </a:r>
        </a:p>
      </dgm:t>
    </dgm:pt>
    <dgm:pt modelId="{9DE76601-6289-4FFB-A78C-7ADD40F0F183}" type="parTrans" cxnId="{E98510DD-B38F-49BD-B489-A17D118A75DC}">
      <dgm:prSet/>
      <dgm:spPr/>
      <dgm:t>
        <a:bodyPr/>
        <a:lstStyle/>
        <a:p>
          <a:endParaRPr lang="en-GB"/>
        </a:p>
      </dgm:t>
    </dgm:pt>
    <dgm:pt modelId="{4F45F5BD-4C8D-498E-95F9-D3B71E04586C}" type="sibTrans" cxnId="{E98510DD-B38F-49BD-B489-A17D118A75DC}">
      <dgm:prSet/>
      <dgm:spPr/>
      <dgm:t>
        <a:bodyPr/>
        <a:lstStyle/>
        <a:p>
          <a:endParaRPr lang="en-GB"/>
        </a:p>
      </dgm:t>
    </dgm:pt>
    <dgm:pt modelId="{0AD24896-2E41-46BC-AD93-ADE7606F82EC}">
      <dgm:prSet phldrT="[Text]"/>
      <dgm:spPr/>
      <dgm:t>
        <a:bodyPr/>
        <a:lstStyle/>
        <a:p>
          <a:r>
            <a:rPr lang="en-GB" dirty="0"/>
            <a:t>Slug Detection</a:t>
          </a:r>
        </a:p>
      </dgm:t>
    </dgm:pt>
    <dgm:pt modelId="{5FFD16F1-25C0-4EA6-8E90-7E82F0973757}" type="parTrans" cxnId="{54A9F2A1-D9DD-4FF5-BDE4-56B9DF648D45}">
      <dgm:prSet/>
      <dgm:spPr/>
      <dgm:t>
        <a:bodyPr/>
        <a:lstStyle/>
        <a:p>
          <a:endParaRPr lang="en-GB"/>
        </a:p>
      </dgm:t>
    </dgm:pt>
    <dgm:pt modelId="{2B4E2AD3-92C9-4AC0-A57D-2F7A15D7A898}" type="sibTrans" cxnId="{54A9F2A1-D9DD-4FF5-BDE4-56B9DF648D45}">
      <dgm:prSet/>
      <dgm:spPr/>
      <dgm:t>
        <a:bodyPr/>
        <a:lstStyle/>
        <a:p>
          <a:endParaRPr lang="en-GB"/>
        </a:p>
      </dgm:t>
    </dgm:pt>
    <dgm:pt modelId="{FA6EF0F5-F73B-4E81-A061-1BCD5988BC1A}">
      <dgm:prSet phldrT="[Text]"/>
      <dgm:spPr/>
      <dgm:t>
        <a:bodyPr/>
        <a:lstStyle/>
        <a:p>
          <a:r>
            <a:rPr lang="en-GB" dirty="0"/>
            <a:t>Supervised Learning</a:t>
          </a:r>
        </a:p>
      </dgm:t>
    </dgm:pt>
    <dgm:pt modelId="{71C988E1-AD7E-4695-9E0E-83AF5B915F43}" type="parTrans" cxnId="{AC43AF8F-81B5-4461-8374-1D8678F8F9AC}">
      <dgm:prSet/>
      <dgm:spPr/>
      <dgm:t>
        <a:bodyPr/>
        <a:lstStyle/>
        <a:p>
          <a:endParaRPr lang="en-GB"/>
        </a:p>
      </dgm:t>
    </dgm:pt>
    <dgm:pt modelId="{462DC14E-85F6-45E5-A064-AC4C652AE528}" type="sibTrans" cxnId="{AC43AF8F-81B5-4461-8374-1D8678F8F9AC}">
      <dgm:prSet/>
      <dgm:spPr/>
      <dgm:t>
        <a:bodyPr/>
        <a:lstStyle/>
        <a:p>
          <a:endParaRPr lang="en-GB"/>
        </a:p>
      </dgm:t>
    </dgm:pt>
    <dgm:pt modelId="{D5BE814B-880A-488C-9236-FF136684CD73}">
      <dgm:prSet phldrT="[Text]"/>
      <dgm:spPr/>
      <dgm:t>
        <a:bodyPr/>
        <a:lstStyle/>
        <a:p>
          <a:r>
            <a:rPr lang="en-GB" dirty="0"/>
            <a:t>Feature Engineering</a:t>
          </a:r>
        </a:p>
      </dgm:t>
    </dgm:pt>
    <dgm:pt modelId="{E9EFC841-EE13-41ED-9BCD-906E17078EBB}" type="parTrans" cxnId="{7C633DD3-EE5A-449B-A3E5-2BC6AB541FD1}">
      <dgm:prSet/>
      <dgm:spPr/>
      <dgm:t>
        <a:bodyPr/>
        <a:lstStyle/>
        <a:p>
          <a:endParaRPr lang="en-GB"/>
        </a:p>
      </dgm:t>
    </dgm:pt>
    <dgm:pt modelId="{135FEE6A-C385-44CF-B11E-13E6DBE2DF1A}" type="sibTrans" cxnId="{7C633DD3-EE5A-449B-A3E5-2BC6AB541FD1}">
      <dgm:prSet/>
      <dgm:spPr/>
      <dgm:t>
        <a:bodyPr/>
        <a:lstStyle/>
        <a:p>
          <a:endParaRPr lang="en-GB"/>
        </a:p>
      </dgm:t>
    </dgm:pt>
    <dgm:pt modelId="{32B03112-E276-4B02-BC2E-46128C5DF4E0}">
      <dgm:prSet phldrT="[Text]"/>
      <dgm:spPr/>
      <dgm:t>
        <a:bodyPr/>
        <a:lstStyle/>
        <a:p>
          <a:r>
            <a:rPr lang="en-GB" dirty="0"/>
            <a:t>Slug Forecasting</a:t>
          </a:r>
        </a:p>
      </dgm:t>
    </dgm:pt>
    <dgm:pt modelId="{5535B18C-F2D6-4FD9-B899-F7C575553613}" type="parTrans" cxnId="{902EFE10-8CB5-49C5-B8C1-75AC7D2CB5F6}">
      <dgm:prSet/>
      <dgm:spPr/>
      <dgm:t>
        <a:bodyPr/>
        <a:lstStyle/>
        <a:p>
          <a:endParaRPr lang="en-GB"/>
        </a:p>
      </dgm:t>
    </dgm:pt>
    <dgm:pt modelId="{429F9130-E2E4-4C95-93E3-B1237673D950}" type="sibTrans" cxnId="{902EFE10-8CB5-49C5-B8C1-75AC7D2CB5F6}">
      <dgm:prSet/>
      <dgm:spPr/>
      <dgm:t>
        <a:bodyPr/>
        <a:lstStyle/>
        <a:p>
          <a:endParaRPr lang="en-GB"/>
        </a:p>
      </dgm:t>
    </dgm:pt>
    <dgm:pt modelId="{01C83856-FB4A-46FA-BAA2-DB56C84E2877}">
      <dgm:prSet phldrT="[Text]"/>
      <dgm:spPr/>
      <dgm:t>
        <a:bodyPr/>
        <a:lstStyle/>
        <a:p>
          <a:r>
            <a:rPr lang="en-GB" dirty="0"/>
            <a:t>Times Series Model</a:t>
          </a:r>
        </a:p>
      </dgm:t>
    </dgm:pt>
    <dgm:pt modelId="{3F52CB9F-799D-45F8-A0DD-09C3CEB80648}" type="parTrans" cxnId="{670EDF66-96AE-4E35-8AD8-AA588A201EA9}">
      <dgm:prSet/>
      <dgm:spPr/>
      <dgm:t>
        <a:bodyPr/>
        <a:lstStyle/>
        <a:p>
          <a:endParaRPr lang="en-GB"/>
        </a:p>
      </dgm:t>
    </dgm:pt>
    <dgm:pt modelId="{5D44E449-A9E3-47B8-9F37-B48A37123449}" type="sibTrans" cxnId="{670EDF66-96AE-4E35-8AD8-AA588A201EA9}">
      <dgm:prSet/>
      <dgm:spPr/>
      <dgm:t>
        <a:bodyPr/>
        <a:lstStyle/>
        <a:p>
          <a:endParaRPr lang="en-GB"/>
        </a:p>
      </dgm:t>
    </dgm:pt>
    <dgm:pt modelId="{9241BF87-F23C-4A48-87F9-F4B5C824EE08}" type="pres">
      <dgm:prSet presAssocID="{E1FA48AE-914D-4462-AF2B-206FA8F9F930}" presName="arrowDiagram" presStyleCnt="0">
        <dgm:presLayoutVars>
          <dgm:chMax val="5"/>
          <dgm:dir/>
          <dgm:resizeHandles val="exact"/>
        </dgm:presLayoutVars>
      </dgm:prSet>
      <dgm:spPr/>
    </dgm:pt>
    <dgm:pt modelId="{37FB5B14-72BF-45BF-AC8A-049C4D208BE6}" type="pres">
      <dgm:prSet presAssocID="{E1FA48AE-914D-4462-AF2B-206FA8F9F930}" presName="arrow" presStyleLbl="bgShp" presStyleIdx="0" presStyleCnt="1"/>
      <dgm:spPr/>
    </dgm:pt>
    <dgm:pt modelId="{4CD38B6C-33EA-4EDC-B0D7-D1954BA9CE8F}" type="pres">
      <dgm:prSet presAssocID="{E1FA48AE-914D-4462-AF2B-206FA8F9F930}" presName="arrowDiagram4" presStyleCnt="0"/>
      <dgm:spPr/>
    </dgm:pt>
    <dgm:pt modelId="{8F98F7E2-3B27-4F0B-8E82-9A786DD87C71}" type="pres">
      <dgm:prSet presAssocID="{3533C102-1C21-4EFC-AACB-9E6B31054CED}" presName="bullet4a" presStyleLbl="node1" presStyleIdx="0" presStyleCnt="4"/>
      <dgm:spPr/>
    </dgm:pt>
    <dgm:pt modelId="{D4A774F3-0875-42A1-83A3-4C8D4BD2D1E1}" type="pres">
      <dgm:prSet presAssocID="{3533C102-1C21-4EFC-AACB-9E6B31054CED}" presName="textBox4a" presStyleLbl="revTx" presStyleIdx="0" presStyleCnt="4">
        <dgm:presLayoutVars>
          <dgm:bulletEnabled val="1"/>
        </dgm:presLayoutVars>
      </dgm:prSet>
      <dgm:spPr/>
    </dgm:pt>
    <dgm:pt modelId="{A63FA0A0-BF7C-48AA-B06B-A710184E5CEA}" type="pres">
      <dgm:prSet presAssocID="{ADA124E4-BBF7-45BE-A0C2-794F9E5AC45F}" presName="bullet4b" presStyleLbl="node1" presStyleIdx="1" presStyleCnt="4"/>
      <dgm:spPr/>
    </dgm:pt>
    <dgm:pt modelId="{BFF43F35-B912-435B-BF49-F1435BC7CAF3}" type="pres">
      <dgm:prSet presAssocID="{ADA124E4-BBF7-45BE-A0C2-794F9E5AC45F}" presName="textBox4b" presStyleLbl="revTx" presStyleIdx="1" presStyleCnt="4">
        <dgm:presLayoutVars>
          <dgm:bulletEnabled val="1"/>
        </dgm:presLayoutVars>
      </dgm:prSet>
      <dgm:spPr/>
    </dgm:pt>
    <dgm:pt modelId="{BBA86B06-7B6E-469E-BD74-799F21A711AA}" type="pres">
      <dgm:prSet presAssocID="{0AD24896-2E41-46BC-AD93-ADE7606F82EC}" presName="bullet4c" presStyleLbl="node1" presStyleIdx="2" presStyleCnt="4"/>
      <dgm:spPr/>
    </dgm:pt>
    <dgm:pt modelId="{7242D6E5-884D-4CAE-8D7A-B8AAEC5E46AD}" type="pres">
      <dgm:prSet presAssocID="{0AD24896-2E41-46BC-AD93-ADE7606F82EC}" presName="textBox4c" presStyleLbl="revTx" presStyleIdx="2" presStyleCnt="4">
        <dgm:presLayoutVars>
          <dgm:bulletEnabled val="1"/>
        </dgm:presLayoutVars>
      </dgm:prSet>
      <dgm:spPr/>
    </dgm:pt>
    <dgm:pt modelId="{6D460EC6-0E79-4075-A219-766B891E9CFF}" type="pres">
      <dgm:prSet presAssocID="{32B03112-E276-4B02-BC2E-46128C5DF4E0}" presName="bullet4d" presStyleLbl="node1" presStyleIdx="3" presStyleCnt="4"/>
      <dgm:spPr/>
    </dgm:pt>
    <dgm:pt modelId="{823D6195-2CB4-4059-8855-0AFEAE37661A}" type="pres">
      <dgm:prSet presAssocID="{32B03112-E276-4B02-BC2E-46128C5DF4E0}" presName="textBox4d" presStyleLbl="revTx" presStyleIdx="3" presStyleCnt="4">
        <dgm:presLayoutVars>
          <dgm:bulletEnabled val="1"/>
        </dgm:presLayoutVars>
      </dgm:prSet>
      <dgm:spPr/>
    </dgm:pt>
  </dgm:ptLst>
  <dgm:cxnLst>
    <dgm:cxn modelId="{5B5A3203-0159-4E5E-8E37-68D365DFD4ED}" srcId="{E1FA48AE-914D-4462-AF2B-206FA8F9F930}" destId="{3533C102-1C21-4EFC-AACB-9E6B31054CED}" srcOrd="0" destOrd="0" parTransId="{BD4D3299-A055-4031-B6BF-EA8A6C998E31}" sibTransId="{43D19182-DE0B-4B26-9461-A0DA298D1B19}"/>
    <dgm:cxn modelId="{902EFE10-8CB5-49C5-B8C1-75AC7D2CB5F6}" srcId="{E1FA48AE-914D-4462-AF2B-206FA8F9F930}" destId="{32B03112-E276-4B02-BC2E-46128C5DF4E0}" srcOrd="3" destOrd="0" parTransId="{5535B18C-F2D6-4FD9-B899-F7C575553613}" sibTransId="{429F9130-E2E4-4C95-93E3-B1237673D950}"/>
    <dgm:cxn modelId="{7B04CD39-9E15-4DD0-AB27-DFE8C3C2B984}" type="presOf" srcId="{32B03112-E276-4B02-BC2E-46128C5DF4E0}" destId="{823D6195-2CB4-4059-8855-0AFEAE37661A}" srcOrd="0" destOrd="0" presId="urn:microsoft.com/office/officeart/2005/8/layout/arrow2"/>
    <dgm:cxn modelId="{71706E5D-2128-4223-BE63-B8F699C3AD0C}" type="presOf" srcId="{E1FA48AE-914D-4462-AF2B-206FA8F9F930}" destId="{9241BF87-F23C-4A48-87F9-F4B5C824EE08}" srcOrd="0" destOrd="0" presId="urn:microsoft.com/office/officeart/2005/8/layout/arrow2"/>
    <dgm:cxn modelId="{D8F05E44-0647-4204-9AD8-38A28FEC422C}" type="presOf" srcId="{01507331-1392-4359-A2BF-7B996300514D}" destId="{BFF43F35-B912-435B-BF49-F1435BC7CAF3}" srcOrd="0" destOrd="1" presId="urn:microsoft.com/office/officeart/2005/8/layout/arrow2"/>
    <dgm:cxn modelId="{670EDF66-96AE-4E35-8AD8-AA588A201EA9}" srcId="{32B03112-E276-4B02-BC2E-46128C5DF4E0}" destId="{01C83856-FB4A-46FA-BAA2-DB56C84E2877}" srcOrd="0" destOrd="0" parTransId="{3F52CB9F-799D-45F8-A0DD-09C3CEB80648}" sibTransId="{5D44E449-A9E3-47B8-9F37-B48A37123449}"/>
    <dgm:cxn modelId="{7B864D6A-217F-40ED-B87C-663381895B01}" srcId="{E1FA48AE-914D-4462-AF2B-206FA8F9F930}" destId="{ADA124E4-BBF7-45BE-A0C2-794F9E5AC45F}" srcOrd="1" destOrd="0" parTransId="{D4C6786C-C0B4-4FAB-8AC5-483C05491360}" sibTransId="{3647CEF7-D6F8-48EE-9790-BE695066FA6F}"/>
    <dgm:cxn modelId="{82093A51-9492-4823-A4F7-0D4CC5689648}" type="presOf" srcId="{61D00DCF-3C1E-4AA7-906D-BDEB2B53FDFB}" destId="{D4A774F3-0875-42A1-83A3-4C8D4BD2D1E1}" srcOrd="0" destOrd="1" presId="urn:microsoft.com/office/officeart/2005/8/layout/arrow2"/>
    <dgm:cxn modelId="{A2B6617E-9196-49F8-8D45-77CDF8A7B0F6}" srcId="{3533C102-1C21-4EFC-AACB-9E6B31054CED}" destId="{61D00DCF-3C1E-4AA7-906D-BDEB2B53FDFB}" srcOrd="0" destOrd="0" parTransId="{9EDBA92A-E3FF-4AA1-BDCA-2D9E9659D614}" sibTransId="{FDB3DD37-898C-4A7C-B303-6935BA348848}"/>
    <dgm:cxn modelId="{AC43AF8F-81B5-4461-8374-1D8678F8F9AC}" srcId="{0AD24896-2E41-46BC-AD93-ADE7606F82EC}" destId="{FA6EF0F5-F73B-4E81-A061-1BCD5988BC1A}" srcOrd="0" destOrd="0" parTransId="{71C988E1-AD7E-4695-9E0E-83AF5B915F43}" sibTransId="{462DC14E-85F6-45E5-A064-AC4C652AE528}"/>
    <dgm:cxn modelId="{FAB26298-CE8E-477C-A7CA-D625A10B27A9}" type="presOf" srcId="{FA6EF0F5-F73B-4E81-A061-1BCD5988BC1A}" destId="{7242D6E5-884D-4CAE-8D7A-B8AAEC5E46AD}" srcOrd="0" destOrd="1" presId="urn:microsoft.com/office/officeart/2005/8/layout/arrow2"/>
    <dgm:cxn modelId="{66EE699D-A4B9-42DF-B0F7-199A9CE8E32E}" type="presOf" srcId="{D5BE814B-880A-488C-9236-FF136684CD73}" destId="{7242D6E5-884D-4CAE-8D7A-B8AAEC5E46AD}" srcOrd="0" destOrd="2" presId="urn:microsoft.com/office/officeart/2005/8/layout/arrow2"/>
    <dgm:cxn modelId="{54A9F2A1-D9DD-4FF5-BDE4-56B9DF648D45}" srcId="{E1FA48AE-914D-4462-AF2B-206FA8F9F930}" destId="{0AD24896-2E41-46BC-AD93-ADE7606F82EC}" srcOrd="2" destOrd="0" parTransId="{5FFD16F1-25C0-4EA6-8E90-7E82F0973757}" sibTransId="{2B4E2AD3-92C9-4AC0-A57D-2F7A15D7A898}"/>
    <dgm:cxn modelId="{0EC97EC2-6BF6-4A26-8BD6-16A77210B9E4}" type="presOf" srcId="{01C83856-FB4A-46FA-BAA2-DB56C84E2877}" destId="{823D6195-2CB4-4059-8855-0AFEAE37661A}" srcOrd="0" destOrd="1" presId="urn:microsoft.com/office/officeart/2005/8/layout/arrow2"/>
    <dgm:cxn modelId="{7C633DD3-EE5A-449B-A3E5-2BC6AB541FD1}" srcId="{0AD24896-2E41-46BC-AD93-ADE7606F82EC}" destId="{D5BE814B-880A-488C-9236-FF136684CD73}" srcOrd="1" destOrd="0" parTransId="{E9EFC841-EE13-41ED-9BCD-906E17078EBB}" sibTransId="{135FEE6A-C385-44CF-B11E-13E6DBE2DF1A}"/>
    <dgm:cxn modelId="{8E473ADA-1DE9-43D5-BC35-07F127F8EAF9}" type="presOf" srcId="{0AD24896-2E41-46BC-AD93-ADE7606F82EC}" destId="{7242D6E5-884D-4CAE-8D7A-B8AAEC5E46AD}" srcOrd="0" destOrd="0" presId="urn:microsoft.com/office/officeart/2005/8/layout/arrow2"/>
    <dgm:cxn modelId="{E98510DD-B38F-49BD-B489-A17D118A75DC}" srcId="{ADA124E4-BBF7-45BE-A0C2-794F9E5AC45F}" destId="{01507331-1392-4359-A2BF-7B996300514D}" srcOrd="0" destOrd="0" parTransId="{9DE76601-6289-4FFB-A78C-7ADD40F0F183}" sibTransId="{4F45F5BD-4C8D-498E-95F9-D3B71E04586C}"/>
    <dgm:cxn modelId="{287D40E8-41C1-44E0-8FBB-9FD76AB2E925}" type="presOf" srcId="{3533C102-1C21-4EFC-AACB-9E6B31054CED}" destId="{D4A774F3-0875-42A1-83A3-4C8D4BD2D1E1}" srcOrd="0" destOrd="0" presId="urn:microsoft.com/office/officeart/2005/8/layout/arrow2"/>
    <dgm:cxn modelId="{3AFD10F2-E070-4D0E-A0C4-136AE723EBC4}" type="presOf" srcId="{ADA124E4-BBF7-45BE-A0C2-794F9E5AC45F}" destId="{BFF43F35-B912-435B-BF49-F1435BC7CAF3}" srcOrd="0" destOrd="0" presId="urn:microsoft.com/office/officeart/2005/8/layout/arrow2"/>
    <dgm:cxn modelId="{7ED3FD10-BE1A-4749-9EF3-7221DB64071B}" type="presParOf" srcId="{9241BF87-F23C-4A48-87F9-F4B5C824EE08}" destId="{37FB5B14-72BF-45BF-AC8A-049C4D208BE6}" srcOrd="0" destOrd="0" presId="urn:microsoft.com/office/officeart/2005/8/layout/arrow2"/>
    <dgm:cxn modelId="{D0B27553-88EB-47A2-ADD5-51E9679F6933}" type="presParOf" srcId="{9241BF87-F23C-4A48-87F9-F4B5C824EE08}" destId="{4CD38B6C-33EA-4EDC-B0D7-D1954BA9CE8F}" srcOrd="1" destOrd="0" presId="urn:microsoft.com/office/officeart/2005/8/layout/arrow2"/>
    <dgm:cxn modelId="{09338828-C740-413D-BD15-9303AA75F398}" type="presParOf" srcId="{4CD38B6C-33EA-4EDC-B0D7-D1954BA9CE8F}" destId="{8F98F7E2-3B27-4F0B-8E82-9A786DD87C71}" srcOrd="0" destOrd="0" presId="urn:microsoft.com/office/officeart/2005/8/layout/arrow2"/>
    <dgm:cxn modelId="{F42B6688-9317-4791-BB50-EE3894A95F4E}" type="presParOf" srcId="{4CD38B6C-33EA-4EDC-B0D7-D1954BA9CE8F}" destId="{D4A774F3-0875-42A1-83A3-4C8D4BD2D1E1}" srcOrd="1" destOrd="0" presId="urn:microsoft.com/office/officeart/2005/8/layout/arrow2"/>
    <dgm:cxn modelId="{603D240C-790D-4707-ACDB-0574E457365A}" type="presParOf" srcId="{4CD38B6C-33EA-4EDC-B0D7-D1954BA9CE8F}" destId="{A63FA0A0-BF7C-48AA-B06B-A710184E5CEA}" srcOrd="2" destOrd="0" presId="urn:microsoft.com/office/officeart/2005/8/layout/arrow2"/>
    <dgm:cxn modelId="{4E571055-D632-4D77-A248-325CCF8B27B6}" type="presParOf" srcId="{4CD38B6C-33EA-4EDC-B0D7-D1954BA9CE8F}" destId="{BFF43F35-B912-435B-BF49-F1435BC7CAF3}" srcOrd="3" destOrd="0" presId="urn:microsoft.com/office/officeart/2005/8/layout/arrow2"/>
    <dgm:cxn modelId="{557EFADC-B72D-43DB-BCFF-B7A0A521AE16}" type="presParOf" srcId="{4CD38B6C-33EA-4EDC-B0D7-D1954BA9CE8F}" destId="{BBA86B06-7B6E-469E-BD74-799F21A711AA}" srcOrd="4" destOrd="0" presId="urn:microsoft.com/office/officeart/2005/8/layout/arrow2"/>
    <dgm:cxn modelId="{15356706-37CF-4A10-8DAE-C4EF18EEBC99}" type="presParOf" srcId="{4CD38B6C-33EA-4EDC-B0D7-D1954BA9CE8F}" destId="{7242D6E5-884D-4CAE-8D7A-B8AAEC5E46AD}" srcOrd="5" destOrd="0" presId="urn:microsoft.com/office/officeart/2005/8/layout/arrow2"/>
    <dgm:cxn modelId="{3FA01D19-AD3A-4066-B296-9C4266FAE17F}" type="presParOf" srcId="{4CD38B6C-33EA-4EDC-B0D7-D1954BA9CE8F}" destId="{6D460EC6-0E79-4075-A219-766B891E9CFF}" srcOrd="6" destOrd="0" presId="urn:microsoft.com/office/officeart/2005/8/layout/arrow2"/>
    <dgm:cxn modelId="{67FDB54F-2798-4F30-A43A-32A363911402}" type="presParOf" srcId="{4CD38B6C-33EA-4EDC-B0D7-D1954BA9CE8F}" destId="{823D6195-2CB4-4059-8855-0AFEAE37661A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97FE0AA-926F-41BC-B738-6DE80FD353F5}" type="doc">
      <dgm:prSet loTypeId="urn:microsoft.com/office/officeart/2005/8/layout/h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GB"/>
        </a:p>
      </dgm:t>
    </dgm:pt>
    <dgm:pt modelId="{7D1A563D-B093-4185-9F11-40D540B6DC71}">
      <dgm:prSet phldrT="[Text]"/>
      <dgm:spPr/>
      <dgm:t>
        <a:bodyPr/>
        <a:lstStyle/>
        <a:p>
          <a:pPr>
            <a:buNone/>
          </a:pPr>
          <a:r>
            <a:rPr lang="en-GB" b="1" dirty="0"/>
            <a:t>Objectives</a:t>
          </a:r>
          <a:endParaRPr lang="en-GB" dirty="0"/>
        </a:p>
      </dgm:t>
    </dgm:pt>
    <dgm:pt modelId="{A85C21E1-4B42-4C17-B6BC-6FEC3F0E2F3C}" type="parTrans" cxnId="{E2DE8BD1-371A-41E4-97DF-F8924B4B4859}">
      <dgm:prSet/>
      <dgm:spPr/>
      <dgm:t>
        <a:bodyPr/>
        <a:lstStyle/>
        <a:p>
          <a:endParaRPr lang="en-GB"/>
        </a:p>
      </dgm:t>
    </dgm:pt>
    <dgm:pt modelId="{2B7216C5-F50B-4021-982C-F3348117B51D}" type="sibTrans" cxnId="{E2DE8BD1-371A-41E4-97DF-F8924B4B4859}">
      <dgm:prSet/>
      <dgm:spPr/>
      <dgm:t>
        <a:bodyPr/>
        <a:lstStyle/>
        <a:p>
          <a:endParaRPr lang="en-GB"/>
        </a:p>
      </dgm:t>
    </dgm:pt>
    <dgm:pt modelId="{36A835FF-47E6-44AA-A611-255D6FD04FD6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Choked Flow</a:t>
          </a:r>
        </a:p>
      </dgm:t>
    </dgm:pt>
    <dgm:pt modelId="{E9FA3A1E-8606-4C27-B7ED-B89B2B78C06E}" type="parTrans" cxnId="{435DC132-B695-46A8-B087-EAF512B5194B}">
      <dgm:prSet/>
      <dgm:spPr/>
      <dgm:t>
        <a:bodyPr/>
        <a:lstStyle/>
        <a:p>
          <a:endParaRPr lang="en-GB"/>
        </a:p>
      </dgm:t>
    </dgm:pt>
    <dgm:pt modelId="{EE4783E1-DE0F-4660-B4D1-684F4D9C9736}" type="sibTrans" cxnId="{435DC132-B695-46A8-B087-EAF512B5194B}">
      <dgm:prSet/>
      <dgm:spPr/>
      <dgm:t>
        <a:bodyPr/>
        <a:lstStyle/>
        <a:p>
          <a:endParaRPr lang="en-GB"/>
        </a:p>
      </dgm:t>
    </dgm:pt>
    <dgm:pt modelId="{6E300223-E85A-48A4-826D-9E774714569D}">
      <dgm:prSet phldrT="[Text]"/>
      <dgm:spPr/>
      <dgm:t>
        <a:bodyPr/>
        <a:lstStyle/>
        <a:p>
          <a:r>
            <a:rPr lang="en-GB" b="1" dirty="0"/>
            <a:t>Machine Learning Technique</a:t>
          </a:r>
        </a:p>
      </dgm:t>
    </dgm:pt>
    <dgm:pt modelId="{5049F82E-15CE-4508-9F66-17AA14AA2495}" type="parTrans" cxnId="{67C9C3AD-31AB-4DE7-8927-7B441BB9670A}">
      <dgm:prSet/>
      <dgm:spPr/>
      <dgm:t>
        <a:bodyPr/>
        <a:lstStyle/>
        <a:p>
          <a:endParaRPr lang="en-GB"/>
        </a:p>
      </dgm:t>
    </dgm:pt>
    <dgm:pt modelId="{CFF7558A-9A17-4935-A918-F617DDA93BA0}" type="sibTrans" cxnId="{67C9C3AD-31AB-4DE7-8927-7B441BB9670A}">
      <dgm:prSet/>
      <dgm:spPr/>
      <dgm:t>
        <a:bodyPr/>
        <a:lstStyle/>
        <a:p>
          <a:endParaRPr lang="en-GB"/>
        </a:p>
      </dgm:t>
    </dgm:pt>
    <dgm:pt modelId="{AFE051E1-565A-4AB1-8D7C-BE41BC42BB52}">
      <dgm:prSet phldrT="[Text]"/>
      <dgm:spPr/>
      <dgm:t>
        <a:bodyPr/>
        <a:lstStyle/>
        <a:p>
          <a:r>
            <a:rPr lang="en-GB" dirty="0"/>
            <a:t>Unsupervised learning</a:t>
          </a:r>
        </a:p>
      </dgm:t>
    </dgm:pt>
    <dgm:pt modelId="{91F5792C-66E0-4F62-9521-765A366F0CC9}" type="parTrans" cxnId="{53F68587-1AE9-479F-9967-986DA6A5156A}">
      <dgm:prSet/>
      <dgm:spPr/>
      <dgm:t>
        <a:bodyPr/>
        <a:lstStyle/>
        <a:p>
          <a:endParaRPr lang="en-GB"/>
        </a:p>
      </dgm:t>
    </dgm:pt>
    <dgm:pt modelId="{C51D51BD-FE51-49AA-985B-404C86DF3A60}" type="sibTrans" cxnId="{53F68587-1AE9-479F-9967-986DA6A5156A}">
      <dgm:prSet/>
      <dgm:spPr/>
      <dgm:t>
        <a:bodyPr/>
        <a:lstStyle/>
        <a:p>
          <a:endParaRPr lang="en-GB"/>
        </a:p>
      </dgm:t>
    </dgm:pt>
    <dgm:pt modelId="{73E7B6CF-7716-480B-B89C-D4F24C1E6D05}">
      <dgm:prSet phldrT="[Text]"/>
      <dgm:spPr/>
      <dgm:t>
        <a:bodyPr/>
        <a:lstStyle/>
        <a:p>
          <a:r>
            <a:rPr lang="en-GB" dirty="0"/>
            <a:t>K-Means Classification</a:t>
          </a:r>
        </a:p>
      </dgm:t>
    </dgm:pt>
    <dgm:pt modelId="{549FD469-2638-4E08-8E08-0C7224134B22}" type="parTrans" cxnId="{62F399DB-F662-45D8-AD45-1DD3CFDFC27D}">
      <dgm:prSet/>
      <dgm:spPr/>
      <dgm:t>
        <a:bodyPr/>
        <a:lstStyle/>
        <a:p>
          <a:endParaRPr lang="en-GB"/>
        </a:p>
      </dgm:t>
    </dgm:pt>
    <dgm:pt modelId="{34A8603C-17A1-42A0-A39E-32550F74DB52}" type="sibTrans" cxnId="{62F399DB-F662-45D8-AD45-1DD3CFDFC27D}">
      <dgm:prSet/>
      <dgm:spPr/>
      <dgm:t>
        <a:bodyPr/>
        <a:lstStyle/>
        <a:p>
          <a:endParaRPr lang="en-GB"/>
        </a:p>
      </dgm:t>
    </dgm:pt>
    <dgm:pt modelId="{92229FDB-E05C-4C83-A7A6-E7EC082D1F4E}">
      <dgm:prSet phldrT="[Text]"/>
      <dgm:spPr/>
      <dgm:t>
        <a:bodyPr/>
        <a:lstStyle/>
        <a:p>
          <a:r>
            <a:rPr lang="en-GB" b="1" dirty="0"/>
            <a:t>Data Pre Processing</a:t>
          </a:r>
        </a:p>
      </dgm:t>
    </dgm:pt>
    <dgm:pt modelId="{CC95E3F1-80E8-4063-B048-31E7C401D120}" type="parTrans" cxnId="{1FD41921-6A57-4EA6-81F3-615CD689F184}">
      <dgm:prSet/>
      <dgm:spPr/>
      <dgm:t>
        <a:bodyPr/>
        <a:lstStyle/>
        <a:p>
          <a:endParaRPr lang="en-GB"/>
        </a:p>
      </dgm:t>
    </dgm:pt>
    <dgm:pt modelId="{13D19025-843D-410E-AB69-A9C66F47074E}" type="sibTrans" cxnId="{1FD41921-6A57-4EA6-81F3-615CD689F184}">
      <dgm:prSet/>
      <dgm:spPr/>
      <dgm:t>
        <a:bodyPr/>
        <a:lstStyle/>
        <a:p>
          <a:endParaRPr lang="en-GB"/>
        </a:p>
      </dgm:t>
    </dgm:pt>
    <dgm:pt modelId="{3D0E2B25-4F80-4C99-AAB2-909A08B4EEA0}">
      <dgm:prSet phldrT="[Text]"/>
      <dgm:spPr/>
      <dgm:t>
        <a:bodyPr/>
        <a:lstStyle/>
        <a:p>
          <a:r>
            <a:rPr lang="en-GB" dirty="0"/>
            <a:t>Feature vector:</a:t>
          </a:r>
        </a:p>
      </dgm:t>
    </dgm:pt>
    <dgm:pt modelId="{5834735F-E7E5-417F-BB8A-F7D7E8224117}" type="parTrans" cxnId="{D5DE82D0-6ABD-4558-A9A9-195B720FF177}">
      <dgm:prSet/>
      <dgm:spPr/>
      <dgm:t>
        <a:bodyPr/>
        <a:lstStyle/>
        <a:p>
          <a:endParaRPr lang="en-GB"/>
        </a:p>
      </dgm:t>
    </dgm:pt>
    <dgm:pt modelId="{19671FDB-81E3-45D0-A740-E086BDF82B69}" type="sibTrans" cxnId="{D5DE82D0-6ABD-4558-A9A9-195B720FF177}">
      <dgm:prSet/>
      <dgm:spPr/>
      <dgm:t>
        <a:bodyPr/>
        <a:lstStyle/>
        <a:p>
          <a:endParaRPr lang="en-GB"/>
        </a:p>
      </dgm:t>
    </dgm:pt>
    <dgm:pt modelId="{C92F8645-4028-4EA5-9FF4-692457307738}">
      <dgm:prSet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Slug Flow</a:t>
          </a:r>
        </a:p>
      </dgm:t>
    </dgm:pt>
    <dgm:pt modelId="{31B5237A-2970-45AA-A570-42617B61B7BE}" type="parTrans" cxnId="{271781B7-3247-4014-B301-182C85E81558}">
      <dgm:prSet/>
      <dgm:spPr/>
      <dgm:t>
        <a:bodyPr/>
        <a:lstStyle/>
        <a:p>
          <a:endParaRPr lang="en-GB"/>
        </a:p>
      </dgm:t>
    </dgm:pt>
    <dgm:pt modelId="{AC6CECD7-B2A5-49F2-8B96-7EB57DA819A8}" type="sibTrans" cxnId="{271781B7-3247-4014-B301-182C85E81558}">
      <dgm:prSet/>
      <dgm:spPr/>
      <dgm:t>
        <a:bodyPr/>
        <a:lstStyle/>
        <a:p>
          <a:endParaRPr lang="en-GB"/>
        </a:p>
      </dgm:t>
    </dgm:pt>
    <dgm:pt modelId="{9853CC02-3D44-4C0D-9C6A-CD3EBD5DD0AC}">
      <dgm:prSet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Pre - Slug after Choke</a:t>
          </a:r>
        </a:p>
      </dgm:t>
    </dgm:pt>
    <dgm:pt modelId="{5DEB0B7A-7E2F-4590-BC10-DF7143E843D5}" type="parTrans" cxnId="{3900D61C-D51A-41B8-BA1D-67EE103FFAC9}">
      <dgm:prSet/>
      <dgm:spPr/>
      <dgm:t>
        <a:bodyPr/>
        <a:lstStyle/>
        <a:p>
          <a:endParaRPr lang="en-GB"/>
        </a:p>
      </dgm:t>
    </dgm:pt>
    <dgm:pt modelId="{B766CAD1-BE1F-48DE-91F4-F781D8000940}" type="sibTrans" cxnId="{3900D61C-D51A-41B8-BA1D-67EE103FFAC9}">
      <dgm:prSet/>
      <dgm:spPr/>
      <dgm:t>
        <a:bodyPr/>
        <a:lstStyle/>
        <a:p>
          <a:endParaRPr lang="en-GB"/>
        </a:p>
      </dgm:t>
    </dgm:pt>
    <dgm:pt modelId="{ED845A55-FC9C-410F-91D3-961BFF26887A}">
      <dgm:prSet phldrT="[Text]"/>
      <dgm:spPr/>
      <dgm:t>
        <a:bodyPr/>
        <a:lstStyle/>
        <a:p>
          <a:r>
            <a:rPr lang="en-GB" dirty="0"/>
            <a:t>Cluster together and label flow portions as:</a:t>
          </a:r>
        </a:p>
      </dgm:t>
    </dgm:pt>
    <dgm:pt modelId="{C9A486BE-D472-40BA-81CA-7C480FB28049}" type="parTrans" cxnId="{E06EFF15-7FC9-4FA5-A2B4-6D63345CAC75}">
      <dgm:prSet/>
      <dgm:spPr/>
      <dgm:t>
        <a:bodyPr/>
        <a:lstStyle/>
        <a:p>
          <a:endParaRPr lang="en-GB"/>
        </a:p>
      </dgm:t>
    </dgm:pt>
    <dgm:pt modelId="{50883CCD-61F6-4524-A80E-F6501ED5FA14}" type="sibTrans" cxnId="{E06EFF15-7FC9-4FA5-A2B4-6D63345CAC75}">
      <dgm:prSet/>
      <dgm:spPr/>
      <dgm:t>
        <a:bodyPr/>
        <a:lstStyle/>
        <a:p>
          <a:endParaRPr lang="en-GB"/>
        </a:p>
      </dgm:t>
    </dgm:pt>
    <dgm:pt modelId="{D7824181-9C2B-432C-93BD-CA15F22E6EE0}">
      <dgm:prSet phldrT="[Text]"/>
      <dgm:spPr/>
      <dgm:t>
        <a:bodyPr/>
        <a:lstStyle/>
        <a:p>
          <a:r>
            <a:rPr lang="en-GB" dirty="0"/>
            <a:t>Clean choke of values below 99% open</a:t>
          </a:r>
        </a:p>
      </dgm:t>
    </dgm:pt>
    <dgm:pt modelId="{6131AF28-6C84-458A-81C7-DE45669EF9EE}" type="parTrans" cxnId="{44D561AA-15A0-4A6F-AB6B-9257C3AA988F}">
      <dgm:prSet/>
      <dgm:spPr/>
      <dgm:t>
        <a:bodyPr/>
        <a:lstStyle/>
        <a:p>
          <a:endParaRPr lang="en-GB"/>
        </a:p>
      </dgm:t>
    </dgm:pt>
    <dgm:pt modelId="{5F444637-1AE0-4A3E-892A-3C998E94D1F0}" type="sibTrans" cxnId="{44D561AA-15A0-4A6F-AB6B-9257C3AA988F}">
      <dgm:prSet/>
      <dgm:spPr/>
      <dgm:t>
        <a:bodyPr/>
        <a:lstStyle/>
        <a:p>
          <a:endParaRPr lang="en-GB"/>
        </a:p>
      </dgm:t>
    </dgm:pt>
    <dgm:pt modelId="{2A028EB5-D91C-40D7-9FDF-D9268A764192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Normal Flow</a:t>
          </a:r>
        </a:p>
      </dgm:t>
    </dgm:pt>
    <dgm:pt modelId="{EE020DDA-0A43-42F2-9482-5D8A3AAD8E1A}" type="parTrans" cxnId="{128FD647-6C5C-4079-9E7B-3942EC815B9F}">
      <dgm:prSet/>
      <dgm:spPr/>
      <dgm:t>
        <a:bodyPr/>
        <a:lstStyle/>
        <a:p>
          <a:endParaRPr lang="en-GB"/>
        </a:p>
      </dgm:t>
    </dgm:pt>
    <dgm:pt modelId="{860D799E-6546-48FA-97E6-5BA846D7E74D}" type="sibTrans" cxnId="{128FD647-6C5C-4079-9E7B-3942EC815B9F}">
      <dgm:prSet/>
      <dgm:spPr/>
      <dgm:t>
        <a:bodyPr/>
        <a:lstStyle/>
        <a:p>
          <a:endParaRPr lang="en-GB"/>
        </a:p>
      </dgm:t>
    </dgm:pt>
    <dgm:pt modelId="{B5E9DB10-E298-411E-B596-57C3D97C7A48}">
      <dgm:prSet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Pre-Slug formation </a:t>
          </a:r>
        </a:p>
      </dgm:t>
    </dgm:pt>
    <dgm:pt modelId="{DC44C62B-8556-4B99-BCC4-47D552CA274E}" type="parTrans" cxnId="{3B73D29E-B059-4FD6-BCEA-CB4AE640B005}">
      <dgm:prSet/>
      <dgm:spPr/>
      <dgm:t>
        <a:bodyPr/>
        <a:lstStyle/>
        <a:p>
          <a:endParaRPr lang="en-GB"/>
        </a:p>
      </dgm:t>
    </dgm:pt>
    <dgm:pt modelId="{37BCF195-D225-4E1A-B0B3-5DBA1183DD4F}" type="sibTrans" cxnId="{3B73D29E-B059-4FD6-BCEA-CB4AE640B005}">
      <dgm:prSet/>
      <dgm:spPr/>
      <dgm:t>
        <a:bodyPr/>
        <a:lstStyle/>
        <a:p>
          <a:endParaRPr lang="en-GB"/>
        </a:p>
      </dgm:t>
    </dgm:pt>
    <dgm:pt modelId="{D288D171-114E-41DC-BAB3-B6DD4953D61A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full data set</a:t>
          </a:r>
        </a:p>
      </dgm:t>
    </dgm:pt>
    <dgm:pt modelId="{8EEC7738-A083-43BD-8FBC-9DFC63246372}" type="parTrans" cxnId="{2DC65709-9727-4D2A-A966-0EB48EFE2621}">
      <dgm:prSet/>
      <dgm:spPr/>
      <dgm:t>
        <a:bodyPr/>
        <a:lstStyle/>
        <a:p>
          <a:endParaRPr lang="en-GB"/>
        </a:p>
      </dgm:t>
    </dgm:pt>
    <dgm:pt modelId="{57F185C1-DF69-45AB-8C8C-CD9EEC9F63A4}" type="sibTrans" cxnId="{2DC65709-9727-4D2A-A966-0EB48EFE2621}">
      <dgm:prSet/>
      <dgm:spPr/>
      <dgm:t>
        <a:bodyPr/>
        <a:lstStyle/>
        <a:p>
          <a:endParaRPr lang="en-GB"/>
        </a:p>
      </dgm:t>
    </dgm:pt>
    <dgm:pt modelId="{607D9635-225E-4250-B8F6-B90DC5390F17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5, 20 and 40 minutes window</a:t>
          </a:r>
        </a:p>
      </dgm:t>
    </dgm:pt>
    <dgm:pt modelId="{630F8CF7-2432-4550-B1A1-1074E5B70155}" type="parTrans" cxnId="{90DC864B-E654-4561-9F77-8385DDDEE08B}">
      <dgm:prSet/>
      <dgm:spPr/>
      <dgm:t>
        <a:bodyPr/>
        <a:lstStyle/>
        <a:p>
          <a:endParaRPr lang="en-GB"/>
        </a:p>
      </dgm:t>
    </dgm:pt>
    <dgm:pt modelId="{515F78E5-7102-40EB-850E-B1D85811D405}" type="sibTrans" cxnId="{90DC864B-E654-4561-9F77-8385DDDEE08B}">
      <dgm:prSet/>
      <dgm:spPr/>
      <dgm:t>
        <a:bodyPr/>
        <a:lstStyle/>
        <a:p>
          <a:endParaRPr lang="en-GB"/>
        </a:p>
      </dgm:t>
    </dgm:pt>
    <dgm:pt modelId="{7F235869-B827-43EA-95D1-4337ED5E240A}" type="pres">
      <dgm:prSet presAssocID="{197FE0AA-926F-41BC-B738-6DE80FD353F5}" presName="linearFlow" presStyleCnt="0">
        <dgm:presLayoutVars>
          <dgm:dir/>
          <dgm:animLvl val="lvl"/>
          <dgm:resizeHandles/>
        </dgm:presLayoutVars>
      </dgm:prSet>
      <dgm:spPr/>
    </dgm:pt>
    <dgm:pt modelId="{71BFCD63-C2D6-4D33-8892-F66AA270F142}" type="pres">
      <dgm:prSet presAssocID="{7D1A563D-B093-4185-9F11-40D540B6DC71}" presName="compositeNode" presStyleCnt="0">
        <dgm:presLayoutVars>
          <dgm:bulletEnabled val="1"/>
        </dgm:presLayoutVars>
      </dgm:prSet>
      <dgm:spPr/>
    </dgm:pt>
    <dgm:pt modelId="{DE06C3B0-28F9-4395-B635-F88B675CB338}" type="pres">
      <dgm:prSet presAssocID="{7D1A563D-B093-4185-9F11-40D540B6DC71}" presName="image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ullseye"/>
        </a:ext>
      </dgm:extLst>
    </dgm:pt>
    <dgm:pt modelId="{CF1ED262-4091-4D21-8766-61470B314114}" type="pres">
      <dgm:prSet presAssocID="{7D1A563D-B093-4185-9F11-40D540B6DC71}" presName="childNode" presStyleLbl="node1" presStyleIdx="0" presStyleCnt="3">
        <dgm:presLayoutVars>
          <dgm:bulletEnabled val="1"/>
        </dgm:presLayoutVars>
      </dgm:prSet>
      <dgm:spPr/>
    </dgm:pt>
    <dgm:pt modelId="{A5DBB2C8-AD78-4671-B5B1-053794425053}" type="pres">
      <dgm:prSet presAssocID="{7D1A563D-B093-4185-9F11-40D540B6DC71}" presName="parentNode" presStyleLbl="revTx" presStyleIdx="0" presStyleCnt="3">
        <dgm:presLayoutVars>
          <dgm:chMax val="0"/>
          <dgm:bulletEnabled val="1"/>
        </dgm:presLayoutVars>
      </dgm:prSet>
      <dgm:spPr/>
    </dgm:pt>
    <dgm:pt modelId="{B487F8B8-9951-4101-83CC-55A16DBE9972}" type="pres">
      <dgm:prSet presAssocID="{2B7216C5-F50B-4021-982C-F3348117B51D}" presName="sibTrans" presStyleCnt="0"/>
      <dgm:spPr/>
    </dgm:pt>
    <dgm:pt modelId="{7016FEAC-5548-4C61-8149-27BE12D431FC}" type="pres">
      <dgm:prSet presAssocID="{6E300223-E85A-48A4-826D-9E774714569D}" presName="compositeNode" presStyleCnt="0">
        <dgm:presLayoutVars>
          <dgm:bulletEnabled val="1"/>
        </dgm:presLayoutVars>
      </dgm:prSet>
      <dgm:spPr/>
    </dgm:pt>
    <dgm:pt modelId="{1CB11BFC-7A2F-4F78-A10D-66818516050C}" type="pres">
      <dgm:prSet presAssocID="{6E300223-E85A-48A4-826D-9E774714569D}" presName="image" presStyleLbl="fgImgPlace1" presStyleIdx="1" presStyleCnt="3" custLinFactNeighborY="990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A04E8ADD-84BC-48C0-B798-B7764D4FE093}" type="pres">
      <dgm:prSet presAssocID="{6E300223-E85A-48A4-826D-9E774714569D}" presName="childNode" presStyleLbl="node1" presStyleIdx="1" presStyleCnt="3">
        <dgm:presLayoutVars>
          <dgm:bulletEnabled val="1"/>
        </dgm:presLayoutVars>
      </dgm:prSet>
      <dgm:spPr/>
    </dgm:pt>
    <dgm:pt modelId="{146C7018-F4A2-4888-892F-976FF3D60AE1}" type="pres">
      <dgm:prSet presAssocID="{6E300223-E85A-48A4-826D-9E774714569D}" presName="parentNode" presStyleLbl="revTx" presStyleIdx="1" presStyleCnt="3">
        <dgm:presLayoutVars>
          <dgm:chMax val="0"/>
          <dgm:bulletEnabled val="1"/>
        </dgm:presLayoutVars>
      </dgm:prSet>
      <dgm:spPr/>
    </dgm:pt>
    <dgm:pt modelId="{5DCF4A3C-8521-44EF-A442-76EC2971C5C6}" type="pres">
      <dgm:prSet presAssocID="{CFF7558A-9A17-4935-A918-F617DDA93BA0}" presName="sibTrans" presStyleCnt="0"/>
      <dgm:spPr/>
    </dgm:pt>
    <dgm:pt modelId="{9E4E0719-E27C-406E-9B25-BBF1AB588D26}" type="pres">
      <dgm:prSet presAssocID="{92229FDB-E05C-4C83-A7A6-E7EC082D1F4E}" presName="compositeNode" presStyleCnt="0">
        <dgm:presLayoutVars>
          <dgm:bulletEnabled val="1"/>
        </dgm:presLayoutVars>
      </dgm:prSet>
      <dgm:spPr/>
    </dgm:pt>
    <dgm:pt modelId="{06ACCCCE-770F-4452-BA79-FE72AF355602}" type="pres">
      <dgm:prSet presAssocID="{92229FDB-E05C-4C83-A7A6-E7EC082D1F4E}" presName="image" presStyleLbl="fgImgPlace1" presStyleIdx="2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458C8B71-20F4-4AEE-8A87-AE722F3FE252}" type="pres">
      <dgm:prSet presAssocID="{92229FDB-E05C-4C83-A7A6-E7EC082D1F4E}" presName="childNode" presStyleLbl="node1" presStyleIdx="2" presStyleCnt="3">
        <dgm:presLayoutVars>
          <dgm:bulletEnabled val="1"/>
        </dgm:presLayoutVars>
      </dgm:prSet>
      <dgm:spPr/>
    </dgm:pt>
    <dgm:pt modelId="{23C103FC-2CE9-4840-A700-B2203AD1F7DF}" type="pres">
      <dgm:prSet presAssocID="{92229FDB-E05C-4C83-A7A6-E7EC082D1F4E}" presName="parentNode" presStyleLbl="revTx" presStyleIdx="2" presStyleCnt="3">
        <dgm:presLayoutVars>
          <dgm:chMax val="0"/>
          <dgm:bulletEnabled val="1"/>
        </dgm:presLayoutVars>
      </dgm:prSet>
      <dgm:spPr/>
    </dgm:pt>
  </dgm:ptLst>
  <dgm:cxnLst>
    <dgm:cxn modelId="{2DC65709-9727-4D2A-A966-0EB48EFE2621}" srcId="{3D0E2B25-4F80-4C99-AAB2-909A08B4EEA0}" destId="{D288D171-114E-41DC-BAB3-B6DD4953D61A}" srcOrd="0" destOrd="0" parTransId="{8EEC7738-A083-43BD-8FBC-9DFC63246372}" sibTransId="{57F185C1-DF69-45AB-8C8C-CD9EEC9F63A4}"/>
    <dgm:cxn modelId="{E06EFF15-7FC9-4FA5-A2B4-6D63345CAC75}" srcId="{7D1A563D-B093-4185-9F11-40D540B6DC71}" destId="{ED845A55-FC9C-410F-91D3-961BFF26887A}" srcOrd="0" destOrd="0" parTransId="{C9A486BE-D472-40BA-81CA-7C480FB28049}" sibTransId="{50883CCD-61F6-4524-A80E-F6501ED5FA14}"/>
    <dgm:cxn modelId="{3900D61C-D51A-41B8-BA1D-67EE103FFAC9}" srcId="{ED845A55-FC9C-410F-91D3-961BFF26887A}" destId="{9853CC02-3D44-4C0D-9C6A-CD3EBD5DD0AC}" srcOrd="3" destOrd="0" parTransId="{5DEB0B7A-7E2F-4590-BC10-DF7143E843D5}" sibTransId="{B766CAD1-BE1F-48DE-91F4-F781D8000940}"/>
    <dgm:cxn modelId="{0A046F1E-2E56-4E83-8A6A-22245F5FB665}" type="presOf" srcId="{2A028EB5-D91C-40D7-9FDF-D9268A764192}" destId="{CF1ED262-4091-4D21-8766-61470B314114}" srcOrd="0" destOrd="2" presId="urn:microsoft.com/office/officeart/2005/8/layout/hList2"/>
    <dgm:cxn modelId="{1FD41921-6A57-4EA6-81F3-615CD689F184}" srcId="{197FE0AA-926F-41BC-B738-6DE80FD353F5}" destId="{92229FDB-E05C-4C83-A7A6-E7EC082D1F4E}" srcOrd="2" destOrd="0" parTransId="{CC95E3F1-80E8-4063-B048-31E7C401D120}" sibTransId="{13D19025-843D-410E-AB69-A9C66F47074E}"/>
    <dgm:cxn modelId="{8CEE5C31-DB96-4F45-8B25-A6AA5DF32CCB}" type="presOf" srcId="{607D9635-225E-4250-B8F6-B90DC5390F17}" destId="{458C8B71-20F4-4AEE-8A87-AE722F3FE252}" srcOrd="0" destOrd="2" presId="urn:microsoft.com/office/officeart/2005/8/layout/hList2"/>
    <dgm:cxn modelId="{435DC132-B695-46A8-B087-EAF512B5194B}" srcId="{ED845A55-FC9C-410F-91D3-961BFF26887A}" destId="{36A835FF-47E6-44AA-A611-255D6FD04FD6}" srcOrd="0" destOrd="0" parTransId="{E9FA3A1E-8606-4C27-B7ED-B89B2B78C06E}" sibTransId="{EE4783E1-DE0F-4660-B4D1-684F4D9C9736}"/>
    <dgm:cxn modelId="{AC888561-4A3B-454A-A3BA-E74CC1A149BF}" type="presOf" srcId="{36A835FF-47E6-44AA-A611-255D6FD04FD6}" destId="{CF1ED262-4091-4D21-8766-61470B314114}" srcOrd="0" destOrd="1" presId="urn:microsoft.com/office/officeart/2005/8/layout/hList2"/>
    <dgm:cxn modelId="{128FD647-6C5C-4079-9E7B-3942EC815B9F}" srcId="{ED845A55-FC9C-410F-91D3-961BFF26887A}" destId="{2A028EB5-D91C-40D7-9FDF-D9268A764192}" srcOrd="1" destOrd="0" parTransId="{EE020DDA-0A43-42F2-9482-5D8A3AAD8E1A}" sibTransId="{860D799E-6546-48FA-97E6-5BA846D7E74D}"/>
    <dgm:cxn modelId="{CA2CD249-7C0B-428D-AE76-5C1FD5E49557}" type="presOf" srcId="{9853CC02-3D44-4C0D-9C6A-CD3EBD5DD0AC}" destId="{CF1ED262-4091-4D21-8766-61470B314114}" srcOrd="0" destOrd="4" presId="urn:microsoft.com/office/officeart/2005/8/layout/hList2"/>
    <dgm:cxn modelId="{90DC864B-E654-4561-9F77-8385DDDEE08B}" srcId="{3D0E2B25-4F80-4C99-AAB2-909A08B4EEA0}" destId="{607D9635-225E-4250-B8F6-B90DC5390F17}" srcOrd="1" destOrd="0" parTransId="{630F8CF7-2432-4550-B1A1-1074E5B70155}" sibTransId="{515F78E5-7102-40EB-850E-B1D85811D405}"/>
    <dgm:cxn modelId="{EB268C54-EC1E-4A70-A828-675722091EC5}" type="presOf" srcId="{3D0E2B25-4F80-4C99-AAB2-909A08B4EEA0}" destId="{458C8B71-20F4-4AEE-8A87-AE722F3FE252}" srcOrd="0" destOrd="0" presId="urn:microsoft.com/office/officeart/2005/8/layout/hList2"/>
    <dgm:cxn modelId="{15E1D179-B0B7-4B24-B3B5-14D34CB765D4}" type="presOf" srcId="{197FE0AA-926F-41BC-B738-6DE80FD353F5}" destId="{7F235869-B827-43EA-95D1-4337ED5E240A}" srcOrd="0" destOrd="0" presId="urn:microsoft.com/office/officeart/2005/8/layout/hList2"/>
    <dgm:cxn modelId="{53F68587-1AE9-479F-9967-986DA6A5156A}" srcId="{6E300223-E85A-48A4-826D-9E774714569D}" destId="{AFE051E1-565A-4AB1-8D7C-BE41BC42BB52}" srcOrd="0" destOrd="0" parTransId="{91F5792C-66E0-4F62-9521-765A366F0CC9}" sibTransId="{C51D51BD-FE51-49AA-985B-404C86DF3A60}"/>
    <dgm:cxn modelId="{734CF68A-C9F0-47FA-8086-5DAB0112C62C}" type="presOf" srcId="{D7824181-9C2B-432C-93BD-CA15F22E6EE0}" destId="{458C8B71-20F4-4AEE-8A87-AE722F3FE252}" srcOrd="0" destOrd="3" presId="urn:microsoft.com/office/officeart/2005/8/layout/hList2"/>
    <dgm:cxn modelId="{01440899-EA79-4A12-8055-0861770CE753}" type="presOf" srcId="{92229FDB-E05C-4C83-A7A6-E7EC082D1F4E}" destId="{23C103FC-2CE9-4840-A700-B2203AD1F7DF}" srcOrd="0" destOrd="0" presId="urn:microsoft.com/office/officeart/2005/8/layout/hList2"/>
    <dgm:cxn modelId="{3B73D29E-B059-4FD6-BCEA-CB4AE640B005}" srcId="{ED845A55-FC9C-410F-91D3-961BFF26887A}" destId="{B5E9DB10-E298-411E-B596-57C3D97C7A48}" srcOrd="4" destOrd="0" parTransId="{DC44C62B-8556-4B99-BCC4-47D552CA274E}" sibTransId="{37BCF195-D225-4E1A-B0B3-5DBA1183DD4F}"/>
    <dgm:cxn modelId="{08C3EE9E-1D4F-4EA3-AFF1-3C04AC1258C5}" type="presOf" srcId="{D288D171-114E-41DC-BAB3-B6DD4953D61A}" destId="{458C8B71-20F4-4AEE-8A87-AE722F3FE252}" srcOrd="0" destOrd="1" presId="urn:microsoft.com/office/officeart/2005/8/layout/hList2"/>
    <dgm:cxn modelId="{44D561AA-15A0-4A6F-AB6B-9257C3AA988F}" srcId="{92229FDB-E05C-4C83-A7A6-E7EC082D1F4E}" destId="{D7824181-9C2B-432C-93BD-CA15F22E6EE0}" srcOrd="1" destOrd="0" parTransId="{6131AF28-6C84-458A-81C7-DE45669EF9EE}" sibTransId="{5F444637-1AE0-4A3E-892A-3C998E94D1F0}"/>
    <dgm:cxn modelId="{67C9C3AD-31AB-4DE7-8927-7B441BB9670A}" srcId="{197FE0AA-926F-41BC-B738-6DE80FD353F5}" destId="{6E300223-E85A-48A4-826D-9E774714569D}" srcOrd="1" destOrd="0" parTransId="{5049F82E-15CE-4508-9F66-17AA14AA2495}" sibTransId="{CFF7558A-9A17-4935-A918-F617DDA93BA0}"/>
    <dgm:cxn modelId="{193B16B4-9541-4C3B-BE1A-F8E468CEB7AD}" type="presOf" srcId="{AFE051E1-565A-4AB1-8D7C-BE41BC42BB52}" destId="{A04E8ADD-84BC-48C0-B798-B7764D4FE093}" srcOrd="0" destOrd="0" presId="urn:microsoft.com/office/officeart/2005/8/layout/hList2"/>
    <dgm:cxn modelId="{271781B7-3247-4014-B301-182C85E81558}" srcId="{ED845A55-FC9C-410F-91D3-961BFF26887A}" destId="{C92F8645-4028-4EA5-9FF4-692457307738}" srcOrd="2" destOrd="0" parTransId="{31B5237A-2970-45AA-A570-42617B61B7BE}" sibTransId="{AC6CECD7-B2A5-49F2-8B96-7EB57DA819A8}"/>
    <dgm:cxn modelId="{A26BA4B7-8F9B-4982-996F-628F99FD9611}" type="presOf" srcId="{ED845A55-FC9C-410F-91D3-961BFF26887A}" destId="{CF1ED262-4091-4D21-8766-61470B314114}" srcOrd="0" destOrd="0" presId="urn:microsoft.com/office/officeart/2005/8/layout/hList2"/>
    <dgm:cxn modelId="{9507DFB9-8A64-4A87-8E54-B95AAEABB55E}" type="presOf" srcId="{C92F8645-4028-4EA5-9FF4-692457307738}" destId="{CF1ED262-4091-4D21-8766-61470B314114}" srcOrd="0" destOrd="3" presId="urn:microsoft.com/office/officeart/2005/8/layout/hList2"/>
    <dgm:cxn modelId="{E1B776BA-9B20-437C-ADAF-E5D01BEDBE54}" type="presOf" srcId="{7D1A563D-B093-4185-9F11-40D540B6DC71}" destId="{A5DBB2C8-AD78-4671-B5B1-053794425053}" srcOrd="0" destOrd="0" presId="urn:microsoft.com/office/officeart/2005/8/layout/hList2"/>
    <dgm:cxn modelId="{43740CBD-4FC4-49E6-9A80-FC44CF4D24B2}" type="presOf" srcId="{6E300223-E85A-48A4-826D-9E774714569D}" destId="{146C7018-F4A2-4888-892F-976FF3D60AE1}" srcOrd="0" destOrd="0" presId="urn:microsoft.com/office/officeart/2005/8/layout/hList2"/>
    <dgm:cxn modelId="{EFC4CACD-0B01-4E4B-9878-4B5DAD656BF8}" type="presOf" srcId="{B5E9DB10-E298-411E-B596-57C3D97C7A48}" destId="{CF1ED262-4091-4D21-8766-61470B314114}" srcOrd="0" destOrd="5" presId="urn:microsoft.com/office/officeart/2005/8/layout/hList2"/>
    <dgm:cxn modelId="{D5DE82D0-6ABD-4558-A9A9-195B720FF177}" srcId="{92229FDB-E05C-4C83-A7A6-E7EC082D1F4E}" destId="{3D0E2B25-4F80-4C99-AAB2-909A08B4EEA0}" srcOrd="0" destOrd="0" parTransId="{5834735F-E7E5-417F-BB8A-F7D7E8224117}" sibTransId="{19671FDB-81E3-45D0-A740-E086BDF82B69}"/>
    <dgm:cxn modelId="{E2DE8BD1-371A-41E4-97DF-F8924B4B4859}" srcId="{197FE0AA-926F-41BC-B738-6DE80FD353F5}" destId="{7D1A563D-B093-4185-9F11-40D540B6DC71}" srcOrd="0" destOrd="0" parTransId="{A85C21E1-4B42-4C17-B6BC-6FEC3F0E2F3C}" sibTransId="{2B7216C5-F50B-4021-982C-F3348117B51D}"/>
    <dgm:cxn modelId="{62F399DB-F662-45D8-AD45-1DD3CFDFC27D}" srcId="{6E300223-E85A-48A4-826D-9E774714569D}" destId="{73E7B6CF-7716-480B-B89C-D4F24C1E6D05}" srcOrd="1" destOrd="0" parTransId="{549FD469-2638-4E08-8E08-0C7224134B22}" sibTransId="{34A8603C-17A1-42A0-A39E-32550F74DB52}"/>
    <dgm:cxn modelId="{E54D48E4-2E88-430F-8931-6083477AE185}" type="presOf" srcId="{73E7B6CF-7716-480B-B89C-D4F24C1E6D05}" destId="{A04E8ADD-84BC-48C0-B798-B7764D4FE093}" srcOrd="0" destOrd="1" presId="urn:microsoft.com/office/officeart/2005/8/layout/hList2"/>
    <dgm:cxn modelId="{F2921B96-0AE8-4B14-9F71-F3E1BDB75EE5}" type="presParOf" srcId="{7F235869-B827-43EA-95D1-4337ED5E240A}" destId="{71BFCD63-C2D6-4D33-8892-F66AA270F142}" srcOrd="0" destOrd="0" presId="urn:microsoft.com/office/officeart/2005/8/layout/hList2"/>
    <dgm:cxn modelId="{A342A453-B8B6-4366-B915-DB288909E582}" type="presParOf" srcId="{71BFCD63-C2D6-4D33-8892-F66AA270F142}" destId="{DE06C3B0-28F9-4395-B635-F88B675CB338}" srcOrd="0" destOrd="0" presId="urn:microsoft.com/office/officeart/2005/8/layout/hList2"/>
    <dgm:cxn modelId="{BA7B2D02-C905-4EBE-9BA1-D2E15E2E54E2}" type="presParOf" srcId="{71BFCD63-C2D6-4D33-8892-F66AA270F142}" destId="{CF1ED262-4091-4D21-8766-61470B314114}" srcOrd="1" destOrd="0" presId="urn:microsoft.com/office/officeart/2005/8/layout/hList2"/>
    <dgm:cxn modelId="{76425804-D02C-4D0E-877C-CD3F05B95A02}" type="presParOf" srcId="{71BFCD63-C2D6-4D33-8892-F66AA270F142}" destId="{A5DBB2C8-AD78-4671-B5B1-053794425053}" srcOrd="2" destOrd="0" presId="urn:microsoft.com/office/officeart/2005/8/layout/hList2"/>
    <dgm:cxn modelId="{4B553D1F-8F3A-43AE-A633-AA19928342EC}" type="presParOf" srcId="{7F235869-B827-43EA-95D1-4337ED5E240A}" destId="{B487F8B8-9951-4101-83CC-55A16DBE9972}" srcOrd="1" destOrd="0" presId="urn:microsoft.com/office/officeart/2005/8/layout/hList2"/>
    <dgm:cxn modelId="{180F7207-C901-41FB-8023-E78A614FF962}" type="presParOf" srcId="{7F235869-B827-43EA-95D1-4337ED5E240A}" destId="{7016FEAC-5548-4C61-8149-27BE12D431FC}" srcOrd="2" destOrd="0" presId="urn:microsoft.com/office/officeart/2005/8/layout/hList2"/>
    <dgm:cxn modelId="{52172E57-FD63-45D0-9B41-28C8C4717425}" type="presParOf" srcId="{7016FEAC-5548-4C61-8149-27BE12D431FC}" destId="{1CB11BFC-7A2F-4F78-A10D-66818516050C}" srcOrd="0" destOrd="0" presId="urn:microsoft.com/office/officeart/2005/8/layout/hList2"/>
    <dgm:cxn modelId="{641A57B7-6B02-4250-8387-3C6AC712C510}" type="presParOf" srcId="{7016FEAC-5548-4C61-8149-27BE12D431FC}" destId="{A04E8ADD-84BC-48C0-B798-B7764D4FE093}" srcOrd="1" destOrd="0" presId="urn:microsoft.com/office/officeart/2005/8/layout/hList2"/>
    <dgm:cxn modelId="{6195C17C-7F1C-4448-8413-C8431ACDAC8F}" type="presParOf" srcId="{7016FEAC-5548-4C61-8149-27BE12D431FC}" destId="{146C7018-F4A2-4888-892F-976FF3D60AE1}" srcOrd="2" destOrd="0" presId="urn:microsoft.com/office/officeart/2005/8/layout/hList2"/>
    <dgm:cxn modelId="{A0E16914-A1D9-42F5-B090-01278CE39AAD}" type="presParOf" srcId="{7F235869-B827-43EA-95D1-4337ED5E240A}" destId="{5DCF4A3C-8521-44EF-A442-76EC2971C5C6}" srcOrd="3" destOrd="0" presId="urn:microsoft.com/office/officeart/2005/8/layout/hList2"/>
    <dgm:cxn modelId="{FF6BAC2E-830A-4D6D-B571-4DB579AD8C96}" type="presParOf" srcId="{7F235869-B827-43EA-95D1-4337ED5E240A}" destId="{9E4E0719-E27C-406E-9B25-BBF1AB588D26}" srcOrd="4" destOrd="0" presId="urn:microsoft.com/office/officeart/2005/8/layout/hList2"/>
    <dgm:cxn modelId="{5A5FE7DD-D78C-490C-8166-D9ECE72E6D3B}" type="presParOf" srcId="{9E4E0719-E27C-406E-9B25-BBF1AB588D26}" destId="{06ACCCCE-770F-4452-BA79-FE72AF355602}" srcOrd="0" destOrd="0" presId="urn:microsoft.com/office/officeart/2005/8/layout/hList2"/>
    <dgm:cxn modelId="{EF6E074A-1DAE-438D-9CFC-49394164C901}" type="presParOf" srcId="{9E4E0719-E27C-406E-9B25-BBF1AB588D26}" destId="{458C8B71-20F4-4AEE-8A87-AE722F3FE252}" srcOrd="1" destOrd="0" presId="urn:microsoft.com/office/officeart/2005/8/layout/hList2"/>
    <dgm:cxn modelId="{A0274CC6-4AD7-4957-A325-FDAF610C2926}" type="presParOf" srcId="{9E4E0719-E27C-406E-9B25-BBF1AB588D26}" destId="{23C103FC-2CE9-4840-A700-B2203AD1F7DF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97FE0AA-926F-41BC-B738-6DE80FD353F5}" type="doc">
      <dgm:prSet loTypeId="urn:microsoft.com/office/officeart/2005/8/layout/h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GB"/>
        </a:p>
      </dgm:t>
    </dgm:pt>
    <dgm:pt modelId="{7D1A563D-B093-4185-9F11-40D540B6DC71}">
      <dgm:prSet phldrT="[Text]"/>
      <dgm:spPr/>
      <dgm:t>
        <a:bodyPr/>
        <a:lstStyle/>
        <a:p>
          <a:pPr>
            <a:buNone/>
          </a:pPr>
          <a:r>
            <a:rPr lang="en-GB" b="1" dirty="0"/>
            <a:t>Objectives</a:t>
          </a:r>
          <a:endParaRPr lang="en-GB" dirty="0"/>
        </a:p>
      </dgm:t>
    </dgm:pt>
    <dgm:pt modelId="{A85C21E1-4B42-4C17-B6BC-6FEC3F0E2F3C}" type="parTrans" cxnId="{E2DE8BD1-371A-41E4-97DF-F8924B4B4859}">
      <dgm:prSet/>
      <dgm:spPr/>
      <dgm:t>
        <a:bodyPr/>
        <a:lstStyle/>
        <a:p>
          <a:endParaRPr lang="en-GB"/>
        </a:p>
      </dgm:t>
    </dgm:pt>
    <dgm:pt modelId="{2B7216C5-F50B-4021-982C-F3348117B51D}" type="sibTrans" cxnId="{E2DE8BD1-371A-41E4-97DF-F8924B4B4859}">
      <dgm:prSet/>
      <dgm:spPr/>
      <dgm:t>
        <a:bodyPr/>
        <a:lstStyle/>
        <a:p>
          <a:endParaRPr lang="en-GB"/>
        </a:p>
      </dgm:t>
    </dgm:pt>
    <dgm:pt modelId="{6E300223-E85A-48A4-826D-9E774714569D}">
      <dgm:prSet phldrT="[Text]"/>
      <dgm:spPr/>
      <dgm:t>
        <a:bodyPr/>
        <a:lstStyle/>
        <a:p>
          <a:pPr>
            <a:buNone/>
          </a:pPr>
          <a:r>
            <a:rPr lang="en-GB" b="1" dirty="0"/>
            <a:t>Machine Learning Technique</a:t>
          </a:r>
        </a:p>
      </dgm:t>
    </dgm:pt>
    <dgm:pt modelId="{5049F82E-15CE-4508-9F66-17AA14AA2495}" type="parTrans" cxnId="{67C9C3AD-31AB-4DE7-8927-7B441BB9670A}">
      <dgm:prSet/>
      <dgm:spPr/>
      <dgm:t>
        <a:bodyPr/>
        <a:lstStyle/>
        <a:p>
          <a:endParaRPr lang="en-GB"/>
        </a:p>
      </dgm:t>
    </dgm:pt>
    <dgm:pt modelId="{CFF7558A-9A17-4935-A918-F617DDA93BA0}" type="sibTrans" cxnId="{67C9C3AD-31AB-4DE7-8927-7B441BB9670A}">
      <dgm:prSet/>
      <dgm:spPr/>
      <dgm:t>
        <a:bodyPr/>
        <a:lstStyle/>
        <a:p>
          <a:endParaRPr lang="en-GB"/>
        </a:p>
      </dgm:t>
    </dgm:pt>
    <dgm:pt modelId="{AFE051E1-565A-4AB1-8D7C-BE41BC42BB52}">
      <dgm:prSet phldrT="[Text]"/>
      <dgm:spPr/>
      <dgm:t>
        <a:bodyPr/>
        <a:lstStyle/>
        <a:p>
          <a:r>
            <a:rPr lang="en-GB" dirty="0"/>
            <a:t>Supervised Learning</a:t>
          </a:r>
        </a:p>
      </dgm:t>
    </dgm:pt>
    <dgm:pt modelId="{91F5792C-66E0-4F62-9521-765A366F0CC9}" type="parTrans" cxnId="{53F68587-1AE9-479F-9967-986DA6A5156A}">
      <dgm:prSet/>
      <dgm:spPr/>
      <dgm:t>
        <a:bodyPr/>
        <a:lstStyle/>
        <a:p>
          <a:endParaRPr lang="en-GB"/>
        </a:p>
      </dgm:t>
    </dgm:pt>
    <dgm:pt modelId="{C51D51BD-FE51-49AA-985B-404C86DF3A60}" type="sibTrans" cxnId="{53F68587-1AE9-479F-9967-986DA6A5156A}">
      <dgm:prSet/>
      <dgm:spPr/>
      <dgm:t>
        <a:bodyPr/>
        <a:lstStyle/>
        <a:p>
          <a:endParaRPr lang="en-GB"/>
        </a:p>
      </dgm:t>
    </dgm:pt>
    <dgm:pt modelId="{73E7B6CF-7716-480B-B89C-D4F24C1E6D05}">
      <dgm:prSet phldrT="[Text]"/>
      <dgm:spPr/>
      <dgm:t>
        <a:bodyPr/>
        <a:lstStyle/>
        <a:p>
          <a:r>
            <a:rPr lang="en-GB" dirty="0"/>
            <a:t>Two Classifiers:</a:t>
          </a:r>
        </a:p>
      </dgm:t>
    </dgm:pt>
    <dgm:pt modelId="{549FD469-2638-4E08-8E08-0C7224134B22}" type="parTrans" cxnId="{62F399DB-F662-45D8-AD45-1DD3CFDFC27D}">
      <dgm:prSet/>
      <dgm:spPr/>
      <dgm:t>
        <a:bodyPr/>
        <a:lstStyle/>
        <a:p>
          <a:endParaRPr lang="en-GB"/>
        </a:p>
      </dgm:t>
    </dgm:pt>
    <dgm:pt modelId="{34A8603C-17A1-42A0-A39E-32550F74DB52}" type="sibTrans" cxnId="{62F399DB-F662-45D8-AD45-1DD3CFDFC27D}">
      <dgm:prSet/>
      <dgm:spPr/>
      <dgm:t>
        <a:bodyPr/>
        <a:lstStyle/>
        <a:p>
          <a:endParaRPr lang="en-GB"/>
        </a:p>
      </dgm:t>
    </dgm:pt>
    <dgm:pt modelId="{92229FDB-E05C-4C83-A7A6-E7EC082D1F4E}">
      <dgm:prSet phldrT="[Text]"/>
      <dgm:spPr/>
      <dgm:t>
        <a:bodyPr/>
        <a:lstStyle/>
        <a:p>
          <a:r>
            <a:rPr lang="en-GB" b="1"/>
            <a:t>Data Pre Processing</a:t>
          </a:r>
          <a:endParaRPr lang="en-GB" b="1" dirty="0"/>
        </a:p>
      </dgm:t>
    </dgm:pt>
    <dgm:pt modelId="{CC95E3F1-80E8-4063-B048-31E7C401D120}" type="parTrans" cxnId="{1FD41921-6A57-4EA6-81F3-615CD689F184}">
      <dgm:prSet/>
      <dgm:spPr/>
      <dgm:t>
        <a:bodyPr/>
        <a:lstStyle/>
        <a:p>
          <a:endParaRPr lang="en-GB"/>
        </a:p>
      </dgm:t>
    </dgm:pt>
    <dgm:pt modelId="{13D19025-843D-410E-AB69-A9C66F47074E}" type="sibTrans" cxnId="{1FD41921-6A57-4EA6-81F3-615CD689F184}">
      <dgm:prSet/>
      <dgm:spPr/>
      <dgm:t>
        <a:bodyPr/>
        <a:lstStyle/>
        <a:p>
          <a:endParaRPr lang="en-GB"/>
        </a:p>
      </dgm:t>
    </dgm:pt>
    <dgm:pt modelId="{ED845A55-FC9C-410F-91D3-961BFF26887A}">
      <dgm:prSet phldrT="[Text]"/>
      <dgm:spPr/>
      <dgm:t>
        <a:bodyPr/>
        <a:lstStyle/>
        <a:p>
          <a:r>
            <a:rPr lang="en-GB" dirty="0"/>
            <a:t>Train and Tune a model to classify different flows:</a:t>
          </a:r>
        </a:p>
      </dgm:t>
    </dgm:pt>
    <dgm:pt modelId="{C9A486BE-D472-40BA-81CA-7C480FB28049}" type="parTrans" cxnId="{E06EFF15-7FC9-4FA5-A2B4-6D63345CAC75}">
      <dgm:prSet/>
      <dgm:spPr/>
      <dgm:t>
        <a:bodyPr/>
        <a:lstStyle/>
        <a:p>
          <a:endParaRPr lang="en-GB"/>
        </a:p>
      </dgm:t>
    </dgm:pt>
    <dgm:pt modelId="{50883CCD-61F6-4524-A80E-F6501ED5FA14}" type="sibTrans" cxnId="{E06EFF15-7FC9-4FA5-A2B4-6D63345CAC75}">
      <dgm:prSet/>
      <dgm:spPr/>
      <dgm:t>
        <a:bodyPr/>
        <a:lstStyle/>
        <a:p>
          <a:endParaRPr lang="en-GB"/>
        </a:p>
      </dgm:t>
    </dgm:pt>
    <dgm:pt modelId="{FC168CA0-51AB-4C99-8B53-71A2856CA619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Slug</a:t>
          </a:r>
        </a:p>
      </dgm:t>
    </dgm:pt>
    <dgm:pt modelId="{4FBC6C70-05D6-4F68-BC37-E79DE62B4874}" type="parTrans" cxnId="{8D492400-3B1D-48A8-9457-ADF83FC76B7F}">
      <dgm:prSet/>
      <dgm:spPr/>
      <dgm:t>
        <a:bodyPr/>
        <a:lstStyle/>
        <a:p>
          <a:endParaRPr lang="en-GB"/>
        </a:p>
      </dgm:t>
    </dgm:pt>
    <dgm:pt modelId="{C1896EAB-8A48-4849-8F3F-71E50D95CE62}" type="sibTrans" cxnId="{8D492400-3B1D-48A8-9457-ADF83FC76B7F}">
      <dgm:prSet/>
      <dgm:spPr/>
      <dgm:t>
        <a:bodyPr/>
        <a:lstStyle/>
        <a:p>
          <a:endParaRPr lang="en-GB"/>
        </a:p>
      </dgm:t>
    </dgm:pt>
    <dgm:pt modelId="{CEF635DB-87CC-4913-8950-DEAA5E68AE3D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First Slug</a:t>
          </a:r>
        </a:p>
      </dgm:t>
    </dgm:pt>
    <dgm:pt modelId="{ED5994C9-000F-4EBA-89BE-BD0D7C420032}" type="parTrans" cxnId="{1F7C8CA9-213E-41C5-908E-8F2340FC24D8}">
      <dgm:prSet/>
      <dgm:spPr/>
      <dgm:t>
        <a:bodyPr/>
        <a:lstStyle/>
        <a:p>
          <a:endParaRPr lang="en-GB"/>
        </a:p>
      </dgm:t>
    </dgm:pt>
    <dgm:pt modelId="{3D9DC962-C1ED-42F4-875B-8F2AE3FB51B6}" type="sibTrans" cxnId="{1F7C8CA9-213E-41C5-908E-8F2340FC24D8}">
      <dgm:prSet/>
      <dgm:spPr/>
      <dgm:t>
        <a:bodyPr/>
        <a:lstStyle/>
        <a:p>
          <a:endParaRPr lang="en-GB"/>
        </a:p>
      </dgm:t>
    </dgm:pt>
    <dgm:pt modelId="{53655698-4784-437B-A865-B50F19F542F0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Pre-Slug flow</a:t>
          </a:r>
        </a:p>
      </dgm:t>
    </dgm:pt>
    <dgm:pt modelId="{8385469E-34C9-4F4F-B4F4-698054DAFC56}" type="parTrans" cxnId="{D337B1BE-C28E-4D8E-88EE-0A0989254BC7}">
      <dgm:prSet/>
      <dgm:spPr/>
      <dgm:t>
        <a:bodyPr/>
        <a:lstStyle/>
        <a:p>
          <a:endParaRPr lang="en-GB"/>
        </a:p>
      </dgm:t>
    </dgm:pt>
    <dgm:pt modelId="{C5D48835-AF91-4AA4-866A-EE681CB7C29C}" type="sibTrans" cxnId="{D337B1BE-C28E-4D8E-88EE-0A0989254BC7}">
      <dgm:prSet/>
      <dgm:spPr/>
      <dgm:t>
        <a:bodyPr/>
        <a:lstStyle/>
        <a:p>
          <a:endParaRPr lang="en-GB"/>
        </a:p>
      </dgm:t>
    </dgm:pt>
    <dgm:pt modelId="{68BC77EB-0E73-4477-8613-1CB6F41DB8AB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Normal flow </a:t>
          </a:r>
        </a:p>
      </dgm:t>
    </dgm:pt>
    <dgm:pt modelId="{754F5FD6-BDE1-4699-A5CC-BCC01968FD96}" type="parTrans" cxnId="{A04843D5-A8D8-4EEB-84A3-98A5D3F9194B}">
      <dgm:prSet/>
      <dgm:spPr/>
      <dgm:t>
        <a:bodyPr/>
        <a:lstStyle/>
        <a:p>
          <a:endParaRPr lang="en-GB"/>
        </a:p>
      </dgm:t>
    </dgm:pt>
    <dgm:pt modelId="{6414A945-6527-42ED-8A4C-8E152DDDDD20}" type="sibTrans" cxnId="{A04843D5-A8D8-4EEB-84A3-98A5D3F9194B}">
      <dgm:prSet/>
      <dgm:spPr/>
      <dgm:t>
        <a:bodyPr/>
        <a:lstStyle/>
        <a:p>
          <a:endParaRPr lang="en-GB"/>
        </a:p>
      </dgm:t>
    </dgm:pt>
    <dgm:pt modelId="{1BC3A80D-3BBE-4B6E-9C67-E77ACB6A6B84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Else</a:t>
          </a:r>
        </a:p>
      </dgm:t>
    </dgm:pt>
    <dgm:pt modelId="{96B28C92-8719-43D1-91DE-41BFB951C1DA}" type="parTrans" cxnId="{C71EE5DA-88FD-4F1C-B2E7-A5AA66174660}">
      <dgm:prSet/>
      <dgm:spPr/>
      <dgm:t>
        <a:bodyPr/>
        <a:lstStyle/>
        <a:p>
          <a:endParaRPr lang="en-GB"/>
        </a:p>
      </dgm:t>
    </dgm:pt>
    <dgm:pt modelId="{D40122DD-CE76-43CD-9133-7B80C44A7B02}" type="sibTrans" cxnId="{C71EE5DA-88FD-4F1C-B2E7-A5AA66174660}">
      <dgm:prSet/>
      <dgm:spPr/>
      <dgm:t>
        <a:bodyPr/>
        <a:lstStyle/>
        <a:p>
          <a:endParaRPr lang="en-GB"/>
        </a:p>
      </dgm:t>
    </dgm:pt>
    <dgm:pt modelId="{C9F4606A-8423-460B-B6DA-FB2DC7B8EB49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Logistic Regression</a:t>
          </a:r>
        </a:p>
      </dgm:t>
    </dgm:pt>
    <dgm:pt modelId="{8C12B98A-0F18-4EFB-A05D-4CAD18E06FF6}" type="parTrans" cxnId="{65B66CBC-1DDE-412A-8F6D-7FC91CEC3590}">
      <dgm:prSet/>
      <dgm:spPr/>
      <dgm:t>
        <a:bodyPr/>
        <a:lstStyle/>
        <a:p>
          <a:endParaRPr lang="en-GB"/>
        </a:p>
      </dgm:t>
    </dgm:pt>
    <dgm:pt modelId="{C96D7B2A-17C0-4D68-992C-582DF1C72B14}" type="sibTrans" cxnId="{65B66CBC-1DDE-412A-8F6D-7FC91CEC3590}">
      <dgm:prSet/>
      <dgm:spPr/>
      <dgm:t>
        <a:bodyPr/>
        <a:lstStyle/>
        <a:p>
          <a:endParaRPr lang="en-GB"/>
        </a:p>
      </dgm:t>
    </dgm:pt>
    <dgm:pt modelId="{F8750620-9E6B-4684-98D8-0313D3056AC5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Support Vector Machines (SVM)</a:t>
          </a:r>
        </a:p>
      </dgm:t>
    </dgm:pt>
    <dgm:pt modelId="{9A56AF9E-60A0-40AA-B40A-788CD2833BCC}" type="parTrans" cxnId="{A48285CF-F177-48BF-B219-274F3FFA4D34}">
      <dgm:prSet/>
      <dgm:spPr/>
      <dgm:t>
        <a:bodyPr/>
        <a:lstStyle/>
        <a:p>
          <a:endParaRPr lang="en-GB"/>
        </a:p>
      </dgm:t>
    </dgm:pt>
    <dgm:pt modelId="{57CE59BA-791D-44DE-9567-D3B03C8CC6D8}" type="sibTrans" cxnId="{A48285CF-F177-48BF-B219-274F3FFA4D34}">
      <dgm:prSet/>
      <dgm:spPr/>
      <dgm:t>
        <a:bodyPr/>
        <a:lstStyle/>
        <a:p>
          <a:endParaRPr lang="en-GB"/>
        </a:p>
      </dgm:t>
    </dgm:pt>
    <dgm:pt modelId="{8B682AA5-56B9-41AF-8A26-2871C283A995}">
      <dgm:prSet phldrT="[Text]"/>
      <dgm:spPr/>
      <dgm:t>
        <a:bodyPr/>
        <a:lstStyle/>
        <a:p>
          <a:r>
            <a:rPr lang="en-GB" b="1" dirty="0"/>
            <a:t>Data Labelling</a:t>
          </a:r>
        </a:p>
      </dgm:t>
    </dgm:pt>
    <dgm:pt modelId="{1934D92F-1D0C-4D9C-A388-7C44A0A0F7D2}" type="parTrans" cxnId="{89C4CBB2-831C-46E1-9756-B1AC77A50DF9}">
      <dgm:prSet/>
      <dgm:spPr/>
      <dgm:t>
        <a:bodyPr/>
        <a:lstStyle/>
        <a:p>
          <a:endParaRPr lang="en-GB"/>
        </a:p>
      </dgm:t>
    </dgm:pt>
    <dgm:pt modelId="{E0FA4599-601D-4833-AE3A-3D6B89B3AA6C}" type="sibTrans" cxnId="{89C4CBB2-831C-46E1-9756-B1AC77A50DF9}">
      <dgm:prSet/>
      <dgm:spPr/>
      <dgm:t>
        <a:bodyPr/>
        <a:lstStyle/>
        <a:p>
          <a:endParaRPr lang="en-GB"/>
        </a:p>
      </dgm:t>
    </dgm:pt>
    <dgm:pt modelId="{30069BD9-9BC6-444D-B2E6-D8D9A05088B2}">
      <dgm:prSet phldrT="[Text]"/>
      <dgm:spPr/>
      <dgm:t>
        <a:bodyPr/>
        <a:lstStyle/>
        <a:p>
          <a:r>
            <a:rPr lang="en-GB" dirty="0"/>
            <a:t>label = “slug” WHEN WHP differential &gt; 3 </a:t>
          </a:r>
          <a:r>
            <a:rPr lang="en-GB" dirty="0" err="1"/>
            <a:t>BarG</a:t>
          </a:r>
          <a:endParaRPr lang="en-GB" dirty="0"/>
        </a:p>
      </dgm:t>
    </dgm:pt>
    <dgm:pt modelId="{056929E2-C6DE-4A0C-A886-98A8526D5DC1}" type="parTrans" cxnId="{0550BBEC-2F8B-4015-9685-F15F4F22C26B}">
      <dgm:prSet/>
      <dgm:spPr/>
      <dgm:t>
        <a:bodyPr/>
        <a:lstStyle/>
        <a:p>
          <a:endParaRPr lang="en-GB"/>
        </a:p>
      </dgm:t>
    </dgm:pt>
    <dgm:pt modelId="{D17F9A48-9591-4797-A0E0-95A3847C8D57}" type="sibTrans" cxnId="{0550BBEC-2F8B-4015-9685-F15F4F22C26B}">
      <dgm:prSet/>
      <dgm:spPr/>
      <dgm:t>
        <a:bodyPr/>
        <a:lstStyle/>
        <a:p>
          <a:endParaRPr lang="en-GB"/>
        </a:p>
      </dgm:t>
    </dgm:pt>
    <dgm:pt modelId="{D26086CA-28C5-4632-8661-848703EE2DC8}">
      <dgm:prSet phldrT="[Text]"/>
      <dgm:spPr/>
      <dgm:t>
        <a:bodyPr/>
        <a:lstStyle/>
        <a:p>
          <a:r>
            <a:rPr lang="en-GB" dirty="0"/>
            <a:t>label = ‘normal’ WHEN WH choke &amp; WHP diff constant</a:t>
          </a:r>
        </a:p>
      </dgm:t>
    </dgm:pt>
    <dgm:pt modelId="{71637697-8CCA-4680-9BB6-EFD6CD19928D}" type="parTrans" cxnId="{510BF546-851D-450F-8CD3-472B9D8FADE7}">
      <dgm:prSet/>
      <dgm:spPr/>
      <dgm:t>
        <a:bodyPr/>
        <a:lstStyle/>
        <a:p>
          <a:endParaRPr lang="en-GB"/>
        </a:p>
      </dgm:t>
    </dgm:pt>
    <dgm:pt modelId="{CC882328-27AD-4170-8BAF-33DD44FDB3E8}" type="sibTrans" cxnId="{510BF546-851D-450F-8CD3-472B9D8FADE7}">
      <dgm:prSet/>
      <dgm:spPr/>
      <dgm:t>
        <a:bodyPr/>
        <a:lstStyle/>
        <a:p>
          <a:endParaRPr lang="en-GB"/>
        </a:p>
      </dgm:t>
    </dgm:pt>
    <dgm:pt modelId="{8AD0C8B9-CA5F-4120-841E-1DBEDE9E4E9B}">
      <dgm:prSet phldrT="[Text]"/>
      <dgm:spPr/>
      <dgm:t>
        <a:bodyPr/>
        <a:lstStyle/>
        <a:p>
          <a:r>
            <a:rPr lang="en-GB" dirty="0"/>
            <a:t>Window labels are extrapolated from point labels</a:t>
          </a:r>
        </a:p>
      </dgm:t>
    </dgm:pt>
    <dgm:pt modelId="{13A93CA3-061B-42EC-A9F4-A58263F32370}" type="parTrans" cxnId="{3065D9C1-82AA-471C-B521-2CE599B91F90}">
      <dgm:prSet/>
      <dgm:spPr/>
      <dgm:t>
        <a:bodyPr/>
        <a:lstStyle/>
        <a:p>
          <a:endParaRPr lang="en-GB"/>
        </a:p>
      </dgm:t>
    </dgm:pt>
    <dgm:pt modelId="{54BC3AE0-2F57-4803-8B63-1F5D848AD374}" type="sibTrans" cxnId="{3065D9C1-82AA-471C-B521-2CE599B91F90}">
      <dgm:prSet/>
      <dgm:spPr/>
      <dgm:t>
        <a:bodyPr/>
        <a:lstStyle/>
        <a:p>
          <a:endParaRPr lang="en-GB"/>
        </a:p>
      </dgm:t>
    </dgm:pt>
    <dgm:pt modelId="{22FFB640-6263-4D2E-968E-E605FB09F7F0}">
      <dgm:prSet phldrT="[Text]"/>
      <dgm:spPr/>
      <dgm:t>
        <a:bodyPr/>
        <a:lstStyle/>
        <a:p>
          <a:r>
            <a:rPr lang="en-GB" dirty="0"/>
            <a:t>Feature vector:</a:t>
          </a:r>
        </a:p>
      </dgm:t>
    </dgm:pt>
    <dgm:pt modelId="{0442C843-FC7A-4BF8-BC0E-FE1A90C3BF91}" type="parTrans" cxnId="{06C2FCB7-604C-482F-9CDF-77799599D49F}">
      <dgm:prSet/>
      <dgm:spPr/>
      <dgm:t>
        <a:bodyPr/>
        <a:lstStyle/>
        <a:p>
          <a:endParaRPr lang="en-GB"/>
        </a:p>
      </dgm:t>
    </dgm:pt>
    <dgm:pt modelId="{D8970715-89F9-4E2A-8222-C1EF32257CF4}" type="sibTrans" cxnId="{06C2FCB7-604C-482F-9CDF-77799599D49F}">
      <dgm:prSet/>
      <dgm:spPr/>
      <dgm:t>
        <a:bodyPr/>
        <a:lstStyle/>
        <a:p>
          <a:endParaRPr lang="en-GB"/>
        </a:p>
      </dgm:t>
    </dgm:pt>
    <dgm:pt modelId="{CC73692B-BFEA-4DBC-B01F-1A00E9BD514F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full data set</a:t>
          </a:r>
        </a:p>
      </dgm:t>
    </dgm:pt>
    <dgm:pt modelId="{B3675D1B-B4B7-46E2-B9F3-D321B2839D39}" type="parTrans" cxnId="{A2D1146D-4FF8-4C1D-9649-4422284433B7}">
      <dgm:prSet/>
      <dgm:spPr/>
      <dgm:t>
        <a:bodyPr/>
        <a:lstStyle/>
        <a:p>
          <a:endParaRPr lang="en-GB"/>
        </a:p>
      </dgm:t>
    </dgm:pt>
    <dgm:pt modelId="{A536F860-85B6-491F-BECE-594A4AF12741}" type="sibTrans" cxnId="{A2D1146D-4FF8-4C1D-9649-4422284433B7}">
      <dgm:prSet/>
      <dgm:spPr/>
      <dgm:t>
        <a:bodyPr/>
        <a:lstStyle/>
        <a:p>
          <a:endParaRPr lang="en-GB"/>
        </a:p>
      </dgm:t>
    </dgm:pt>
    <dgm:pt modelId="{43ECB276-1C0D-4DEC-8BDD-89AD62E3E16B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5, 20 and 40 minutes window</a:t>
          </a:r>
        </a:p>
      </dgm:t>
    </dgm:pt>
    <dgm:pt modelId="{AE1F0C4D-E3EA-445D-802A-55D40681716D}" type="parTrans" cxnId="{5BC4587D-ED9A-43F4-B02A-C0AE89028A7E}">
      <dgm:prSet/>
      <dgm:spPr/>
      <dgm:t>
        <a:bodyPr/>
        <a:lstStyle/>
        <a:p>
          <a:endParaRPr lang="en-GB"/>
        </a:p>
      </dgm:t>
    </dgm:pt>
    <dgm:pt modelId="{AC8C6101-C02E-455C-A655-70663DEFB7A1}" type="sibTrans" cxnId="{5BC4587D-ED9A-43F4-B02A-C0AE89028A7E}">
      <dgm:prSet/>
      <dgm:spPr/>
      <dgm:t>
        <a:bodyPr/>
        <a:lstStyle/>
        <a:p>
          <a:endParaRPr lang="en-GB"/>
        </a:p>
      </dgm:t>
    </dgm:pt>
    <dgm:pt modelId="{8D6BC81E-305F-467A-81D1-5ABD8169F3DD}">
      <dgm:prSet phldrT="[Text]"/>
      <dgm:spPr/>
      <dgm:t>
        <a:bodyPr/>
        <a:lstStyle/>
        <a:p>
          <a:r>
            <a:rPr lang="en-GB" dirty="0"/>
            <a:t>Clean choke of values below 99% open</a:t>
          </a:r>
        </a:p>
      </dgm:t>
    </dgm:pt>
    <dgm:pt modelId="{1E20893F-09E8-48EF-93CD-FCD405A9E4A6}" type="parTrans" cxnId="{F378A816-A446-4581-B570-4646869CB73C}">
      <dgm:prSet/>
      <dgm:spPr/>
      <dgm:t>
        <a:bodyPr/>
        <a:lstStyle/>
        <a:p>
          <a:endParaRPr lang="en-GB"/>
        </a:p>
      </dgm:t>
    </dgm:pt>
    <dgm:pt modelId="{A8FB1F20-AD4D-49A8-952B-8BFF2B332F04}" type="sibTrans" cxnId="{F378A816-A446-4581-B570-4646869CB73C}">
      <dgm:prSet/>
      <dgm:spPr/>
      <dgm:t>
        <a:bodyPr/>
        <a:lstStyle/>
        <a:p>
          <a:endParaRPr lang="en-GB"/>
        </a:p>
      </dgm:t>
    </dgm:pt>
    <dgm:pt modelId="{29843B7A-D86C-4182-8EE9-2750136751E9}" type="pres">
      <dgm:prSet presAssocID="{197FE0AA-926F-41BC-B738-6DE80FD353F5}" presName="linearFlow" presStyleCnt="0">
        <dgm:presLayoutVars>
          <dgm:dir/>
          <dgm:animLvl val="lvl"/>
          <dgm:resizeHandles/>
        </dgm:presLayoutVars>
      </dgm:prSet>
      <dgm:spPr/>
    </dgm:pt>
    <dgm:pt modelId="{3036AFA0-DB57-4BC8-A20E-98656A58E32F}" type="pres">
      <dgm:prSet presAssocID="{7D1A563D-B093-4185-9F11-40D540B6DC71}" presName="compositeNode" presStyleCnt="0">
        <dgm:presLayoutVars>
          <dgm:bulletEnabled val="1"/>
        </dgm:presLayoutVars>
      </dgm:prSet>
      <dgm:spPr/>
    </dgm:pt>
    <dgm:pt modelId="{7FC7DA89-B9DD-4CCF-BFF8-52B37EF9AA8C}" type="pres">
      <dgm:prSet presAssocID="{7D1A563D-B093-4185-9F11-40D540B6DC71}" presName="image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ullseye"/>
        </a:ext>
      </dgm:extLst>
    </dgm:pt>
    <dgm:pt modelId="{6D4C54EC-86C1-493A-A3FB-FD91877167D0}" type="pres">
      <dgm:prSet presAssocID="{7D1A563D-B093-4185-9F11-40D540B6DC71}" presName="childNode" presStyleLbl="node1" presStyleIdx="0" presStyleCnt="4">
        <dgm:presLayoutVars>
          <dgm:bulletEnabled val="1"/>
        </dgm:presLayoutVars>
      </dgm:prSet>
      <dgm:spPr/>
    </dgm:pt>
    <dgm:pt modelId="{B4D99F18-7420-45FF-8C29-C89B1F62FA8A}" type="pres">
      <dgm:prSet presAssocID="{7D1A563D-B093-4185-9F11-40D540B6DC71}" presName="parentNode" presStyleLbl="revTx" presStyleIdx="0" presStyleCnt="4">
        <dgm:presLayoutVars>
          <dgm:chMax val="0"/>
          <dgm:bulletEnabled val="1"/>
        </dgm:presLayoutVars>
      </dgm:prSet>
      <dgm:spPr/>
    </dgm:pt>
    <dgm:pt modelId="{099F8F6B-4AFD-4E13-BAE9-7BD62AE9B092}" type="pres">
      <dgm:prSet presAssocID="{2B7216C5-F50B-4021-982C-F3348117B51D}" presName="sibTrans" presStyleCnt="0"/>
      <dgm:spPr/>
    </dgm:pt>
    <dgm:pt modelId="{2EB27263-F0D5-4CA4-94ED-190555174457}" type="pres">
      <dgm:prSet presAssocID="{6E300223-E85A-48A4-826D-9E774714569D}" presName="compositeNode" presStyleCnt="0">
        <dgm:presLayoutVars>
          <dgm:bulletEnabled val="1"/>
        </dgm:presLayoutVars>
      </dgm:prSet>
      <dgm:spPr/>
    </dgm:pt>
    <dgm:pt modelId="{5379EB61-C3ED-4108-A12A-3E3BF1B5AEA6}" type="pres">
      <dgm:prSet presAssocID="{6E300223-E85A-48A4-826D-9E774714569D}" presName="image" presStyleLbl="fgImgPlac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98B29184-30BC-40AC-984B-E4A3FC263D47}" type="pres">
      <dgm:prSet presAssocID="{6E300223-E85A-48A4-826D-9E774714569D}" presName="childNode" presStyleLbl="node1" presStyleIdx="1" presStyleCnt="4">
        <dgm:presLayoutVars>
          <dgm:bulletEnabled val="1"/>
        </dgm:presLayoutVars>
      </dgm:prSet>
      <dgm:spPr/>
    </dgm:pt>
    <dgm:pt modelId="{8885BC67-B164-4FD7-A35F-A6310F44928A}" type="pres">
      <dgm:prSet presAssocID="{6E300223-E85A-48A4-826D-9E774714569D}" presName="parentNode" presStyleLbl="revTx" presStyleIdx="1" presStyleCnt="4">
        <dgm:presLayoutVars>
          <dgm:chMax val="0"/>
          <dgm:bulletEnabled val="1"/>
        </dgm:presLayoutVars>
      </dgm:prSet>
      <dgm:spPr/>
    </dgm:pt>
    <dgm:pt modelId="{CA43F93C-33B0-4F6D-A540-9782266C0A51}" type="pres">
      <dgm:prSet presAssocID="{CFF7558A-9A17-4935-A918-F617DDA93BA0}" presName="sibTrans" presStyleCnt="0"/>
      <dgm:spPr/>
    </dgm:pt>
    <dgm:pt modelId="{3F276D05-3EF2-4780-A440-167E6B12F678}" type="pres">
      <dgm:prSet presAssocID="{92229FDB-E05C-4C83-A7A6-E7EC082D1F4E}" presName="compositeNode" presStyleCnt="0">
        <dgm:presLayoutVars>
          <dgm:bulletEnabled val="1"/>
        </dgm:presLayoutVars>
      </dgm:prSet>
      <dgm:spPr/>
    </dgm:pt>
    <dgm:pt modelId="{F24C8A2A-BFC0-4AF3-9292-25C45C633A2E}" type="pres">
      <dgm:prSet presAssocID="{92229FDB-E05C-4C83-A7A6-E7EC082D1F4E}" presName="image" presStyleLbl="fgImgPlac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36D680F2-1BE2-4631-91AF-BC7E9974759B}" type="pres">
      <dgm:prSet presAssocID="{92229FDB-E05C-4C83-A7A6-E7EC082D1F4E}" presName="childNode" presStyleLbl="node1" presStyleIdx="2" presStyleCnt="4">
        <dgm:presLayoutVars>
          <dgm:bulletEnabled val="1"/>
        </dgm:presLayoutVars>
      </dgm:prSet>
      <dgm:spPr/>
    </dgm:pt>
    <dgm:pt modelId="{4B6E42DE-50F2-472C-9794-0FC35AC30DCA}" type="pres">
      <dgm:prSet presAssocID="{92229FDB-E05C-4C83-A7A6-E7EC082D1F4E}" presName="parentNode" presStyleLbl="revTx" presStyleIdx="2" presStyleCnt="4">
        <dgm:presLayoutVars>
          <dgm:chMax val="0"/>
          <dgm:bulletEnabled val="1"/>
        </dgm:presLayoutVars>
      </dgm:prSet>
      <dgm:spPr/>
    </dgm:pt>
    <dgm:pt modelId="{1E07F933-DAC8-4E6A-849E-352BD40519BF}" type="pres">
      <dgm:prSet presAssocID="{13D19025-843D-410E-AB69-A9C66F47074E}" presName="sibTrans" presStyleCnt="0"/>
      <dgm:spPr/>
    </dgm:pt>
    <dgm:pt modelId="{70CC8191-9645-4C51-B190-D3D19838C9DE}" type="pres">
      <dgm:prSet presAssocID="{8B682AA5-56B9-41AF-8A26-2871C283A995}" presName="compositeNode" presStyleCnt="0">
        <dgm:presLayoutVars>
          <dgm:bulletEnabled val="1"/>
        </dgm:presLayoutVars>
      </dgm:prSet>
      <dgm:spPr/>
    </dgm:pt>
    <dgm:pt modelId="{D66E350E-A337-4E80-ABA5-DAD297E0D59D}" type="pres">
      <dgm:prSet presAssocID="{8B682AA5-56B9-41AF-8A26-2871C283A995}" presName="image" presStyleLbl="fgImgPlac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esearch"/>
        </a:ext>
      </dgm:extLst>
    </dgm:pt>
    <dgm:pt modelId="{479074FA-78F6-423E-98CE-E83297FAB5DC}" type="pres">
      <dgm:prSet presAssocID="{8B682AA5-56B9-41AF-8A26-2871C283A995}" presName="childNode" presStyleLbl="node1" presStyleIdx="3" presStyleCnt="4">
        <dgm:presLayoutVars>
          <dgm:bulletEnabled val="1"/>
        </dgm:presLayoutVars>
      </dgm:prSet>
      <dgm:spPr/>
    </dgm:pt>
    <dgm:pt modelId="{E4A09A21-2358-4D88-87D1-1D0D7F6E68EB}" type="pres">
      <dgm:prSet presAssocID="{8B682AA5-56B9-41AF-8A26-2871C283A995}" presName="parentNode" presStyleLbl="revTx" presStyleIdx="3" presStyleCnt="4">
        <dgm:presLayoutVars>
          <dgm:chMax val="0"/>
          <dgm:bulletEnabled val="1"/>
        </dgm:presLayoutVars>
      </dgm:prSet>
      <dgm:spPr/>
    </dgm:pt>
  </dgm:ptLst>
  <dgm:cxnLst>
    <dgm:cxn modelId="{8D492400-3B1D-48A8-9457-ADF83FC76B7F}" srcId="{ED845A55-FC9C-410F-91D3-961BFF26887A}" destId="{FC168CA0-51AB-4C99-8B53-71A2856CA619}" srcOrd="0" destOrd="0" parTransId="{4FBC6C70-05D6-4F68-BC37-E79DE62B4874}" sibTransId="{C1896EAB-8A48-4849-8F3F-71E50D95CE62}"/>
    <dgm:cxn modelId="{33E68C02-8332-4935-8497-E2033498DE6B}" type="presOf" srcId="{197FE0AA-926F-41BC-B738-6DE80FD353F5}" destId="{29843B7A-D86C-4182-8EE9-2750136751E9}" srcOrd="0" destOrd="0" presId="urn:microsoft.com/office/officeart/2005/8/layout/hList2"/>
    <dgm:cxn modelId="{B440E706-9364-49BE-8E88-DAF07EF3AEEC}" type="presOf" srcId="{8AD0C8B9-CA5F-4120-841E-1DBEDE9E4E9B}" destId="{479074FA-78F6-423E-98CE-E83297FAB5DC}" srcOrd="0" destOrd="2" presId="urn:microsoft.com/office/officeart/2005/8/layout/hList2"/>
    <dgm:cxn modelId="{1D78D20D-433A-4B67-BFE8-3F1B23BB0A3A}" type="presOf" srcId="{6E300223-E85A-48A4-826D-9E774714569D}" destId="{8885BC67-B164-4FD7-A35F-A6310F44928A}" srcOrd="0" destOrd="0" presId="urn:microsoft.com/office/officeart/2005/8/layout/hList2"/>
    <dgm:cxn modelId="{E06EFF15-7FC9-4FA5-A2B4-6D63345CAC75}" srcId="{7D1A563D-B093-4185-9F11-40D540B6DC71}" destId="{ED845A55-FC9C-410F-91D3-961BFF26887A}" srcOrd="0" destOrd="0" parTransId="{C9A486BE-D472-40BA-81CA-7C480FB28049}" sibTransId="{50883CCD-61F6-4524-A80E-F6501ED5FA14}"/>
    <dgm:cxn modelId="{B80C7816-ECA9-4946-9AF2-C016411FCF5B}" type="presOf" srcId="{D26086CA-28C5-4632-8661-848703EE2DC8}" destId="{479074FA-78F6-423E-98CE-E83297FAB5DC}" srcOrd="0" destOrd="1" presId="urn:microsoft.com/office/officeart/2005/8/layout/hList2"/>
    <dgm:cxn modelId="{F378A816-A446-4581-B570-4646869CB73C}" srcId="{92229FDB-E05C-4C83-A7A6-E7EC082D1F4E}" destId="{8D6BC81E-305F-467A-81D1-5ABD8169F3DD}" srcOrd="1" destOrd="0" parTransId="{1E20893F-09E8-48EF-93CD-FCD405A9E4A6}" sibTransId="{A8FB1F20-AD4D-49A8-952B-8BFF2B332F04}"/>
    <dgm:cxn modelId="{A6585819-B160-4743-8352-2F7708324C7A}" type="presOf" srcId="{CC73692B-BFEA-4DBC-B01F-1A00E9BD514F}" destId="{36D680F2-1BE2-4631-91AF-BC7E9974759B}" srcOrd="0" destOrd="1" presId="urn:microsoft.com/office/officeart/2005/8/layout/hList2"/>
    <dgm:cxn modelId="{154F031F-4853-4A24-882B-F1478AAD39EC}" type="presOf" srcId="{68BC77EB-0E73-4477-8613-1CB6F41DB8AB}" destId="{6D4C54EC-86C1-493A-A3FB-FD91877167D0}" srcOrd="0" destOrd="4" presId="urn:microsoft.com/office/officeart/2005/8/layout/hList2"/>
    <dgm:cxn modelId="{1FD41921-6A57-4EA6-81F3-615CD689F184}" srcId="{197FE0AA-926F-41BC-B738-6DE80FD353F5}" destId="{92229FDB-E05C-4C83-A7A6-E7EC082D1F4E}" srcOrd="2" destOrd="0" parTransId="{CC95E3F1-80E8-4063-B048-31E7C401D120}" sibTransId="{13D19025-843D-410E-AB69-A9C66F47074E}"/>
    <dgm:cxn modelId="{47562C24-E5BE-411B-9EFF-4B560741B1A8}" type="presOf" srcId="{1BC3A80D-3BBE-4B6E-9C67-E77ACB6A6B84}" destId="{6D4C54EC-86C1-493A-A3FB-FD91877167D0}" srcOrd="0" destOrd="5" presId="urn:microsoft.com/office/officeart/2005/8/layout/hList2"/>
    <dgm:cxn modelId="{A3F64F30-BA6D-4EAE-AE94-1ACC84B97104}" type="presOf" srcId="{53655698-4784-437B-A865-B50F19F542F0}" destId="{6D4C54EC-86C1-493A-A3FB-FD91877167D0}" srcOrd="0" destOrd="3" presId="urn:microsoft.com/office/officeart/2005/8/layout/hList2"/>
    <dgm:cxn modelId="{FFB9B232-4D0F-4AF3-ACE8-4A10DC38F1DF}" type="presOf" srcId="{CEF635DB-87CC-4913-8950-DEAA5E68AE3D}" destId="{6D4C54EC-86C1-493A-A3FB-FD91877167D0}" srcOrd="0" destOrd="2" presId="urn:microsoft.com/office/officeart/2005/8/layout/hList2"/>
    <dgm:cxn modelId="{76BE135E-3E31-4093-877C-B2CFF749ED2C}" type="presOf" srcId="{ED845A55-FC9C-410F-91D3-961BFF26887A}" destId="{6D4C54EC-86C1-493A-A3FB-FD91877167D0}" srcOrd="0" destOrd="0" presId="urn:microsoft.com/office/officeart/2005/8/layout/hList2"/>
    <dgm:cxn modelId="{E5840662-F8A7-4D0C-AFDD-8825024A9B52}" type="presOf" srcId="{AFE051E1-565A-4AB1-8D7C-BE41BC42BB52}" destId="{98B29184-30BC-40AC-984B-E4A3FC263D47}" srcOrd="0" destOrd="0" presId="urn:microsoft.com/office/officeart/2005/8/layout/hList2"/>
    <dgm:cxn modelId="{510BF546-851D-450F-8CD3-472B9D8FADE7}" srcId="{8B682AA5-56B9-41AF-8A26-2871C283A995}" destId="{D26086CA-28C5-4632-8661-848703EE2DC8}" srcOrd="1" destOrd="0" parTransId="{71637697-8CCA-4680-9BB6-EFD6CD19928D}" sibTransId="{CC882328-27AD-4170-8BAF-33DD44FDB3E8}"/>
    <dgm:cxn modelId="{A2D1146D-4FF8-4C1D-9649-4422284433B7}" srcId="{22FFB640-6263-4D2E-968E-E605FB09F7F0}" destId="{CC73692B-BFEA-4DBC-B01F-1A00E9BD514F}" srcOrd="0" destOrd="0" parTransId="{B3675D1B-B4B7-46E2-B9F3-D321B2839D39}" sibTransId="{A536F860-85B6-491F-BECE-594A4AF12741}"/>
    <dgm:cxn modelId="{EEEEB152-9075-4AA8-954D-3113884820AA}" type="presOf" srcId="{73E7B6CF-7716-480B-B89C-D4F24C1E6D05}" destId="{98B29184-30BC-40AC-984B-E4A3FC263D47}" srcOrd="0" destOrd="1" presId="urn:microsoft.com/office/officeart/2005/8/layout/hList2"/>
    <dgm:cxn modelId="{50B62357-13E6-48E6-8F6F-70E204F297E3}" type="presOf" srcId="{7D1A563D-B093-4185-9F11-40D540B6DC71}" destId="{B4D99F18-7420-45FF-8C29-C89B1F62FA8A}" srcOrd="0" destOrd="0" presId="urn:microsoft.com/office/officeart/2005/8/layout/hList2"/>
    <dgm:cxn modelId="{5BC4587D-ED9A-43F4-B02A-C0AE89028A7E}" srcId="{22FFB640-6263-4D2E-968E-E605FB09F7F0}" destId="{43ECB276-1C0D-4DEC-8BDD-89AD62E3E16B}" srcOrd="1" destOrd="0" parTransId="{AE1F0C4D-E3EA-445D-802A-55D40681716D}" sibTransId="{AC8C6101-C02E-455C-A655-70663DEFB7A1}"/>
    <dgm:cxn modelId="{50AB8486-549E-4027-BD3D-02A9A97967C5}" type="presOf" srcId="{30069BD9-9BC6-444D-B2E6-D8D9A05088B2}" destId="{479074FA-78F6-423E-98CE-E83297FAB5DC}" srcOrd="0" destOrd="0" presId="urn:microsoft.com/office/officeart/2005/8/layout/hList2"/>
    <dgm:cxn modelId="{53F68587-1AE9-479F-9967-986DA6A5156A}" srcId="{6E300223-E85A-48A4-826D-9E774714569D}" destId="{AFE051E1-565A-4AB1-8D7C-BE41BC42BB52}" srcOrd="0" destOrd="0" parTransId="{91F5792C-66E0-4F62-9521-765A366F0CC9}" sibTransId="{C51D51BD-FE51-49AA-985B-404C86DF3A60}"/>
    <dgm:cxn modelId="{8EE7C98A-FACB-4258-BFC9-7BFBA560AD5C}" type="presOf" srcId="{FC168CA0-51AB-4C99-8B53-71A2856CA619}" destId="{6D4C54EC-86C1-493A-A3FB-FD91877167D0}" srcOrd="0" destOrd="1" presId="urn:microsoft.com/office/officeart/2005/8/layout/hList2"/>
    <dgm:cxn modelId="{A3F7C7A0-E40D-4D44-BC29-19D56D7315A9}" type="presOf" srcId="{F8750620-9E6B-4684-98D8-0313D3056AC5}" destId="{98B29184-30BC-40AC-984B-E4A3FC263D47}" srcOrd="0" destOrd="3" presId="urn:microsoft.com/office/officeart/2005/8/layout/hList2"/>
    <dgm:cxn modelId="{2429F8A3-46E3-457F-BAFC-8C575F3D6A45}" type="presOf" srcId="{43ECB276-1C0D-4DEC-8BDD-89AD62E3E16B}" destId="{36D680F2-1BE2-4631-91AF-BC7E9974759B}" srcOrd="0" destOrd="2" presId="urn:microsoft.com/office/officeart/2005/8/layout/hList2"/>
    <dgm:cxn modelId="{1F7C8CA9-213E-41C5-908E-8F2340FC24D8}" srcId="{ED845A55-FC9C-410F-91D3-961BFF26887A}" destId="{CEF635DB-87CC-4913-8950-DEAA5E68AE3D}" srcOrd="1" destOrd="0" parTransId="{ED5994C9-000F-4EBA-89BE-BD0D7C420032}" sibTransId="{3D9DC962-C1ED-42F4-875B-8F2AE3FB51B6}"/>
    <dgm:cxn modelId="{67C9C3AD-31AB-4DE7-8927-7B441BB9670A}" srcId="{197FE0AA-926F-41BC-B738-6DE80FD353F5}" destId="{6E300223-E85A-48A4-826D-9E774714569D}" srcOrd="1" destOrd="0" parTransId="{5049F82E-15CE-4508-9F66-17AA14AA2495}" sibTransId="{CFF7558A-9A17-4935-A918-F617DDA93BA0}"/>
    <dgm:cxn modelId="{89C4CBB2-831C-46E1-9756-B1AC77A50DF9}" srcId="{197FE0AA-926F-41BC-B738-6DE80FD353F5}" destId="{8B682AA5-56B9-41AF-8A26-2871C283A995}" srcOrd="3" destOrd="0" parTransId="{1934D92F-1D0C-4D9C-A388-7C44A0A0F7D2}" sibTransId="{E0FA4599-601D-4833-AE3A-3D6B89B3AA6C}"/>
    <dgm:cxn modelId="{06C2FCB7-604C-482F-9CDF-77799599D49F}" srcId="{92229FDB-E05C-4C83-A7A6-E7EC082D1F4E}" destId="{22FFB640-6263-4D2E-968E-E605FB09F7F0}" srcOrd="0" destOrd="0" parTransId="{0442C843-FC7A-4BF8-BC0E-FE1A90C3BF91}" sibTransId="{D8970715-89F9-4E2A-8222-C1EF32257CF4}"/>
    <dgm:cxn modelId="{65B66CBC-1DDE-412A-8F6D-7FC91CEC3590}" srcId="{73E7B6CF-7716-480B-B89C-D4F24C1E6D05}" destId="{C9F4606A-8423-460B-B6DA-FB2DC7B8EB49}" srcOrd="0" destOrd="0" parTransId="{8C12B98A-0F18-4EFB-A05D-4CAD18E06FF6}" sibTransId="{C96D7B2A-17C0-4D68-992C-582DF1C72B14}"/>
    <dgm:cxn modelId="{D337B1BE-C28E-4D8E-88EE-0A0989254BC7}" srcId="{ED845A55-FC9C-410F-91D3-961BFF26887A}" destId="{53655698-4784-437B-A865-B50F19F542F0}" srcOrd="2" destOrd="0" parTransId="{8385469E-34C9-4F4F-B4F4-698054DAFC56}" sibTransId="{C5D48835-AF91-4AA4-866A-EE681CB7C29C}"/>
    <dgm:cxn modelId="{3065D9C1-82AA-471C-B521-2CE599B91F90}" srcId="{8B682AA5-56B9-41AF-8A26-2871C283A995}" destId="{8AD0C8B9-CA5F-4120-841E-1DBEDE9E4E9B}" srcOrd="2" destOrd="0" parTransId="{13A93CA3-061B-42EC-A9F4-A58263F32370}" sibTransId="{54BC3AE0-2F57-4803-8B63-1F5D848AD374}"/>
    <dgm:cxn modelId="{FC065EC5-13FA-43BC-B3B7-5BCEE8532191}" type="presOf" srcId="{8D6BC81E-305F-467A-81D1-5ABD8169F3DD}" destId="{36D680F2-1BE2-4631-91AF-BC7E9974759B}" srcOrd="0" destOrd="3" presId="urn:microsoft.com/office/officeart/2005/8/layout/hList2"/>
    <dgm:cxn modelId="{A48285CF-F177-48BF-B219-274F3FFA4D34}" srcId="{73E7B6CF-7716-480B-B89C-D4F24C1E6D05}" destId="{F8750620-9E6B-4684-98D8-0313D3056AC5}" srcOrd="1" destOrd="0" parTransId="{9A56AF9E-60A0-40AA-B40A-788CD2833BCC}" sibTransId="{57CE59BA-791D-44DE-9567-D3B03C8CC6D8}"/>
    <dgm:cxn modelId="{E2DE8BD1-371A-41E4-97DF-F8924B4B4859}" srcId="{197FE0AA-926F-41BC-B738-6DE80FD353F5}" destId="{7D1A563D-B093-4185-9F11-40D540B6DC71}" srcOrd="0" destOrd="0" parTransId="{A85C21E1-4B42-4C17-B6BC-6FEC3F0E2F3C}" sibTransId="{2B7216C5-F50B-4021-982C-F3348117B51D}"/>
    <dgm:cxn modelId="{A04843D5-A8D8-4EEB-84A3-98A5D3F9194B}" srcId="{ED845A55-FC9C-410F-91D3-961BFF26887A}" destId="{68BC77EB-0E73-4477-8613-1CB6F41DB8AB}" srcOrd="3" destOrd="0" parTransId="{754F5FD6-BDE1-4699-A5CC-BCC01968FD96}" sibTransId="{6414A945-6527-42ED-8A4C-8E152DDDDD20}"/>
    <dgm:cxn modelId="{C71EE5DA-88FD-4F1C-B2E7-A5AA66174660}" srcId="{ED845A55-FC9C-410F-91D3-961BFF26887A}" destId="{1BC3A80D-3BBE-4B6E-9C67-E77ACB6A6B84}" srcOrd="4" destOrd="0" parTransId="{96B28C92-8719-43D1-91DE-41BFB951C1DA}" sibTransId="{D40122DD-CE76-43CD-9133-7B80C44A7B02}"/>
    <dgm:cxn modelId="{BA4170DB-A6BB-4C92-AD71-47B001607FEA}" type="presOf" srcId="{92229FDB-E05C-4C83-A7A6-E7EC082D1F4E}" destId="{4B6E42DE-50F2-472C-9794-0FC35AC30DCA}" srcOrd="0" destOrd="0" presId="urn:microsoft.com/office/officeart/2005/8/layout/hList2"/>
    <dgm:cxn modelId="{62F399DB-F662-45D8-AD45-1DD3CFDFC27D}" srcId="{6E300223-E85A-48A4-826D-9E774714569D}" destId="{73E7B6CF-7716-480B-B89C-D4F24C1E6D05}" srcOrd="1" destOrd="0" parTransId="{549FD469-2638-4E08-8E08-0C7224134B22}" sibTransId="{34A8603C-17A1-42A0-A39E-32550F74DB52}"/>
    <dgm:cxn modelId="{E9E3B2DC-9E9C-42FB-9CC1-0BCF02DEC758}" type="presOf" srcId="{22FFB640-6263-4D2E-968E-E605FB09F7F0}" destId="{36D680F2-1BE2-4631-91AF-BC7E9974759B}" srcOrd="0" destOrd="0" presId="urn:microsoft.com/office/officeart/2005/8/layout/hList2"/>
    <dgm:cxn modelId="{0550BBEC-2F8B-4015-9685-F15F4F22C26B}" srcId="{8B682AA5-56B9-41AF-8A26-2871C283A995}" destId="{30069BD9-9BC6-444D-B2E6-D8D9A05088B2}" srcOrd="0" destOrd="0" parTransId="{056929E2-C6DE-4A0C-A886-98A8526D5DC1}" sibTransId="{D17F9A48-9591-4797-A0E0-95A3847C8D57}"/>
    <dgm:cxn modelId="{747908F9-CC89-4CF0-8CB6-A50A5DD9FAD9}" type="presOf" srcId="{8B682AA5-56B9-41AF-8A26-2871C283A995}" destId="{E4A09A21-2358-4D88-87D1-1D0D7F6E68EB}" srcOrd="0" destOrd="0" presId="urn:microsoft.com/office/officeart/2005/8/layout/hList2"/>
    <dgm:cxn modelId="{BEE85FF9-57BA-4642-816A-57E1F574C2F6}" type="presOf" srcId="{C9F4606A-8423-460B-B6DA-FB2DC7B8EB49}" destId="{98B29184-30BC-40AC-984B-E4A3FC263D47}" srcOrd="0" destOrd="2" presId="urn:microsoft.com/office/officeart/2005/8/layout/hList2"/>
    <dgm:cxn modelId="{372244D6-80AA-4C0D-9B0B-796A75352681}" type="presParOf" srcId="{29843B7A-D86C-4182-8EE9-2750136751E9}" destId="{3036AFA0-DB57-4BC8-A20E-98656A58E32F}" srcOrd="0" destOrd="0" presId="urn:microsoft.com/office/officeart/2005/8/layout/hList2"/>
    <dgm:cxn modelId="{49E5079A-AC88-4085-95E8-DB43FF911129}" type="presParOf" srcId="{3036AFA0-DB57-4BC8-A20E-98656A58E32F}" destId="{7FC7DA89-B9DD-4CCF-BFF8-52B37EF9AA8C}" srcOrd="0" destOrd="0" presId="urn:microsoft.com/office/officeart/2005/8/layout/hList2"/>
    <dgm:cxn modelId="{A248A24B-A5BB-4B82-855E-8CCA83049DAB}" type="presParOf" srcId="{3036AFA0-DB57-4BC8-A20E-98656A58E32F}" destId="{6D4C54EC-86C1-493A-A3FB-FD91877167D0}" srcOrd="1" destOrd="0" presId="urn:microsoft.com/office/officeart/2005/8/layout/hList2"/>
    <dgm:cxn modelId="{AFCEE4D7-7F62-41FE-B1A4-C6C6F9B5793D}" type="presParOf" srcId="{3036AFA0-DB57-4BC8-A20E-98656A58E32F}" destId="{B4D99F18-7420-45FF-8C29-C89B1F62FA8A}" srcOrd="2" destOrd="0" presId="urn:microsoft.com/office/officeart/2005/8/layout/hList2"/>
    <dgm:cxn modelId="{16BCB549-228D-401B-A879-A0B7568ABB8C}" type="presParOf" srcId="{29843B7A-D86C-4182-8EE9-2750136751E9}" destId="{099F8F6B-4AFD-4E13-BAE9-7BD62AE9B092}" srcOrd="1" destOrd="0" presId="urn:microsoft.com/office/officeart/2005/8/layout/hList2"/>
    <dgm:cxn modelId="{99FF86ED-8E76-4D19-81DE-53F5AE2E4448}" type="presParOf" srcId="{29843B7A-D86C-4182-8EE9-2750136751E9}" destId="{2EB27263-F0D5-4CA4-94ED-190555174457}" srcOrd="2" destOrd="0" presId="urn:microsoft.com/office/officeart/2005/8/layout/hList2"/>
    <dgm:cxn modelId="{DD336ECF-E4C3-4592-B10A-B6B54EFDF727}" type="presParOf" srcId="{2EB27263-F0D5-4CA4-94ED-190555174457}" destId="{5379EB61-C3ED-4108-A12A-3E3BF1B5AEA6}" srcOrd="0" destOrd="0" presId="urn:microsoft.com/office/officeart/2005/8/layout/hList2"/>
    <dgm:cxn modelId="{1D75C6F6-8369-4AAD-A9CF-11D9A30AC4E2}" type="presParOf" srcId="{2EB27263-F0D5-4CA4-94ED-190555174457}" destId="{98B29184-30BC-40AC-984B-E4A3FC263D47}" srcOrd="1" destOrd="0" presId="urn:microsoft.com/office/officeart/2005/8/layout/hList2"/>
    <dgm:cxn modelId="{D1D5EF5D-C576-4B83-90DB-08C21DDAB745}" type="presParOf" srcId="{2EB27263-F0D5-4CA4-94ED-190555174457}" destId="{8885BC67-B164-4FD7-A35F-A6310F44928A}" srcOrd="2" destOrd="0" presId="urn:microsoft.com/office/officeart/2005/8/layout/hList2"/>
    <dgm:cxn modelId="{8026F76D-741F-4AE4-8687-A080CB7D5D60}" type="presParOf" srcId="{29843B7A-D86C-4182-8EE9-2750136751E9}" destId="{CA43F93C-33B0-4F6D-A540-9782266C0A51}" srcOrd="3" destOrd="0" presId="urn:microsoft.com/office/officeart/2005/8/layout/hList2"/>
    <dgm:cxn modelId="{D793EE66-0242-402F-97FA-227B175889BB}" type="presParOf" srcId="{29843B7A-D86C-4182-8EE9-2750136751E9}" destId="{3F276D05-3EF2-4780-A440-167E6B12F678}" srcOrd="4" destOrd="0" presId="urn:microsoft.com/office/officeart/2005/8/layout/hList2"/>
    <dgm:cxn modelId="{A538A221-B9E8-45BC-8470-B66C41C89738}" type="presParOf" srcId="{3F276D05-3EF2-4780-A440-167E6B12F678}" destId="{F24C8A2A-BFC0-4AF3-9292-25C45C633A2E}" srcOrd="0" destOrd="0" presId="urn:microsoft.com/office/officeart/2005/8/layout/hList2"/>
    <dgm:cxn modelId="{362AA5F9-6608-4BD3-92C3-160B65EB0728}" type="presParOf" srcId="{3F276D05-3EF2-4780-A440-167E6B12F678}" destId="{36D680F2-1BE2-4631-91AF-BC7E9974759B}" srcOrd="1" destOrd="0" presId="urn:microsoft.com/office/officeart/2005/8/layout/hList2"/>
    <dgm:cxn modelId="{4A1D3817-FE83-4061-A31B-4E482EBB8AF3}" type="presParOf" srcId="{3F276D05-3EF2-4780-A440-167E6B12F678}" destId="{4B6E42DE-50F2-472C-9794-0FC35AC30DCA}" srcOrd="2" destOrd="0" presId="urn:microsoft.com/office/officeart/2005/8/layout/hList2"/>
    <dgm:cxn modelId="{87BCE62E-DA46-4E51-B862-B8A998D26C41}" type="presParOf" srcId="{29843B7A-D86C-4182-8EE9-2750136751E9}" destId="{1E07F933-DAC8-4E6A-849E-352BD40519BF}" srcOrd="5" destOrd="0" presId="urn:microsoft.com/office/officeart/2005/8/layout/hList2"/>
    <dgm:cxn modelId="{28F0E0F7-F7D9-4B15-A2EB-E5A91D63F545}" type="presParOf" srcId="{29843B7A-D86C-4182-8EE9-2750136751E9}" destId="{70CC8191-9645-4C51-B190-D3D19838C9DE}" srcOrd="6" destOrd="0" presId="urn:microsoft.com/office/officeart/2005/8/layout/hList2"/>
    <dgm:cxn modelId="{BE8054A4-6406-423A-B4C2-C225A03A8707}" type="presParOf" srcId="{70CC8191-9645-4C51-B190-D3D19838C9DE}" destId="{D66E350E-A337-4E80-ABA5-DAD297E0D59D}" srcOrd="0" destOrd="0" presId="urn:microsoft.com/office/officeart/2005/8/layout/hList2"/>
    <dgm:cxn modelId="{DBFA6208-0F9C-4AF8-8EAC-CBB5F62DC3EB}" type="presParOf" srcId="{70CC8191-9645-4C51-B190-D3D19838C9DE}" destId="{479074FA-78F6-423E-98CE-E83297FAB5DC}" srcOrd="1" destOrd="0" presId="urn:microsoft.com/office/officeart/2005/8/layout/hList2"/>
    <dgm:cxn modelId="{A7D5B871-DE08-4A63-A081-EEDABA30F923}" type="presParOf" srcId="{70CC8191-9645-4C51-B190-D3D19838C9DE}" destId="{E4A09A21-2358-4D88-87D1-1D0D7F6E68EB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197FE0AA-926F-41BC-B738-6DE80FD353F5}" type="doc">
      <dgm:prSet loTypeId="urn:microsoft.com/office/officeart/2005/8/layout/h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GB"/>
        </a:p>
      </dgm:t>
    </dgm:pt>
    <dgm:pt modelId="{7D1A563D-B093-4185-9F11-40D540B6DC71}">
      <dgm:prSet phldrT="[Text]"/>
      <dgm:spPr/>
      <dgm:t>
        <a:bodyPr/>
        <a:lstStyle/>
        <a:p>
          <a:pPr>
            <a:buNone/>
          </a:pPr>
          <a:r>
            <a:rPr lang="en-GB" b="1" dirty="0"/>
            <a:t>Objectives</a:t>
          </a:r>
          <a:endParaRPr lang="en-GB" dirty="0"/>
        </a:p>
      </dgm:t>
    </dgm:pt>
    <dgm:pt modelId="{A85C21E1-4B42-4C17-B6BC-6FEC3F0E2F3C}" type="parTrans" cxnId="{E2DE8BD1-371A-41E4-97DF-F8924B4B4859}">
      <dgm:prSet/>
      <dgm:spPr/>
      <dgm:t>
        <a:bodyPr/>
        <a:lstStyle/>
        <a:p>
          <a:endParaRPr lang="en-GB"/>
        </a:p>
      </dgm:t>
    </dgm:pt>
    <dgm:pt modelId="{2B7216C5-F50B-4021-982C-F3348117B51D}" type="sibTrans" cxnId="{E2DE8BD1-371A-41E4-97DF-F8924B4B4859}">
      <dgm:prSet/>
      <dgm:spPr/>
      <dgm:t>
        <a:bodyPr/>
        <a:lstStyle/>
        <a:p>
          <a:endParaRPr lang="en-GB"/>
        </a:p>
      </dgm:t>
    </dgm:pt>
    <dgm:pt modelId="{6E300223-E85A-48A4-826D-9E774714569D}">
      <dgm:prSet phldrT="[Text]"/>
      <dgm:spPr/>
      <dgm:t>
        <a:bodyPr/>
        <a:lstStyle/>
        <a:p>
          <a:pPr>
            <a:buNone/>
          </a:pPr>
          <a:r>
            <a:rPr lang="en-GB" b="1" dirty="0"/>
            <a:t>Machine Learning Technique</a:t>
          </a:r>
        </a:p>
      </dgm:t>
    </dgm:pt>
    <dgm:pt modelId="{5049F82E-15CE-4508-9F66-17AA14AA2495}" type="parTrans" cxnId="{67C9C3AD-31AB-4DE7-8927-7B441BB9670A}">
      <dgm:prSet/>
      <dgm:spPr/>
      <dgm:t>
        <a:bodyPr/>
        <a:lstStyle/>
        <a:p>
          <a:endParaRPr lang="en-GB"/>
        </a:p>
      </dgm:t>
    </dgm:pt>
    <dgm:pt modelId="{CFF7558A-9A17-4935-A918-F617DDA93BA0}" type="sibTrans" cxnId="{67C9C3AD-31AB-4DE7-8927-7B441BB9670A}">
      <dgm:prSet/>
      <dgm:spPr/>
      <dgm:t>
        <a:bodyPr/>
        <a:lstStyle/>
        <a:p>
          <a:endParaRPr lang="en-GB"/>
        </a:p>
      </dgm:t>
    </dgm:pt>
    <dgm:pt modelId="{AFE051E1-565A-4AB1-8D7C-BE41BC42BB52}">
      <dgm:prSet phldrT="[Text]"/>
      <dgm:spPr/>
      <dgm:t>
        <a:bodyPr/>
        <a:lstStyle/>
        <a:p>
          <a:r>
            <a:rPr lang="en-GB" dirty="0"/>
            <a:t>Supervised Learning</a:t>
          </a:r>
        </a:p>
      </dgm:t>
    </dgm:pt>
    <dgm:pt modelId="{91F5792C-66E0-4F62-9521-765A366F0CC9}" type="parTrans" cxnId="{53F68587-1AE9-479F-9967-986DA6A5156A}">
      <dgm:prSet/>
      <dgm:spPr/>
      <dgm:t>
        <a:bodyPr/>
        <a:lstStyle/>
        <a:p>
          <a:endParaRPr lang="en-GB"/>
        </a:p>
      </dgm:t>
    </dgm:pt>
    <dgm:pt modelId="{C51D51BD-FE51-49AA-985B-404C86DF3A60}" type="sibTrans" cxnId="{53F68587-1AE9-479F-9967-986DA6A5156A}">
      <dgm:prSet/>
      <dgm:spPr/>
      <dgm:t>
        <a:bodyPr/>
        <a:lstStyle/>
        <a:p>
          <a:endParaRPr lang="en-GB"/>
        </a:p>
      </dgm:t>
    </dgm:pt>
    <dgm:pt modelId="{73E7B6CF-7716-480B-B89C-D4F24C1E6D05}">
      <dgm:prSet phldrT="[Text]"/>
      <dgm:spPr/>
      <dgm:t>
        <a:bodyPr/>
        <a:lstStyle/>
        <a:p>
          <a:r>
            <a:rPr lang="en-GB" dirty="0"/>
            <a:t>Two Classifiers:</a:t>
          </a:r>
        </a:p>
      </dgm:t>
    </dgm:pt>
    <dgm:pt modelId="{549FD469-2638-4E08-8E08-0C7224134B22}" type="parTrans" cxnId="{62F399DB-F662-45D8-AD45-1DD3CFDFC27D}">
      <dgm:prSet/>
      <dgm:spPr/>
      <dgm:t>
        <a:bodyPr/>
        <a:lstStyle/>
        <a:p>
          <a:endParaRPr lang="en-GB"/>
        </a:p>
      </dgm:t>
    </dgm:pt>
    <dgm:pt modelId="{34A8603C-17A1-42A0-A39E-32550F74DB52}" type="sibTrans" cxnId="{62F399DB-F662-45D8-AD45-1DD3CFDFC27D}">
      <dgm:prSet/>
      <dgm:spPr/>
      <dgm:t>
        <a:bodyPr/>
        <a:lstStyle/>
        <a:p>
          <a:endParaRPr lang="en-GB"/>
        </a:p>
      </dgm:t>
    </dgm:pt>
    <dgm:pt modelId="{92229FDB-E05C-4C83-A7A6-E7EC082D1F4E}">
      <dgm:prSet phldrT="[Text]"/>
      <dgm:spPr/>
      <dgm:t>
        <a:bodyPr/>
        <a:lstStyle/>
        <a:p>
          <a:pPr>
            <a:buNone/>
          </a:pPr>
          <a:r>
            <a:rPr lang="en-GB" b="1" dirty="0"/>
            <a:t>Data Pre Processing</a:t>
          </a:r>
        </a:p>
      </dgm:t>
    </dgm:pt>
    <dgm:pt modelId="{CC95E3F1-80E8-4063-B048-31E7C401D120}" type="parTrans" cxnId="{1FD41921-6A57-4EA6-81F3-615CD689F184}">
      <dgm:prSet/>
      <dgm:spPr/>
      <dgm:t>
        <a:bodyPr/>
        <a:lstStyle/>
        <a:p>
          <a:endParaRPr lang="en-GB"/>
        </a:p>
      </dgm:t>
    </dgm:pt>
    <dgm:pt modelId="{13D19025-843D-410E-AB69-A9C66F47074E}" type="sibTrans" cxnId="{1FD41921-6A57-4EA6-81F3-615CD689F184}">
      <dgm:prSet/>
      <dgm:spPr/>
      <dgm:t>
        <a:bodyPr/>
        <a:lstStyle/>
        <a:p>
          <a:endParaRPr lang="en-GB"/>
        </a:p>
      </dgm:t>
    </dgm:pt>
    <dgm:pt modelId="{3D0E2B25-4F80-4C99-AAB2-909A08B4EEA0}">
      <dgm:prSet phldrT="[Text]"/>
      <dgm:spPr/>
      <dgm:t>
        <a:bodyPr/>
        <a:lstStyle/>
        <a:p>
          <a:r>
            <a:rPr lang="en-GB" dirty="0"/>
            <a:t>Consider only continuous data where WH choke &gt; 99%, and min time is 300 minutes</a:t>
          </a:r>
        </a:p>
      </dgm:t>
    </dgm:pt>
    <dgm:pt modelId="{5834735F-E7E5-417F-BB8A-F7D7E8224117}" type="parTrans" cxnId="{D5DE82D0-6ABD-4558-A9A9-195B720FF177}">
      <dgm:prSet/>
      <dgm:spPr/>
      <dgm:t>
        <a:bodyPr/>
        <a:lstStyle/>
        <a:p>
          <a:endParaRPr lang="en-GB"/>
        </a:p>
      </dgm:t>
    </dgm:pt>
    <dgm:pt modelId="{19671FDB-81E3-45D0-A740-E086BDF82B69}" type="sibTrans" cxnId="{D5DE82D0-6ABD-4558-A9A9-195B720FF177}">
      <dgm:prSet/>
      <dgm:spPr/>
      <dgm:t>
        <a:bodyPr/>
        <a:lstStyle/>
        <a:p>
          <a:endParaRPr lang="en-GB"/>
        </a:p>
      </dgm:t>
    </dgm:pt>
    <dgm:pt modelId="{ED845A55-FC9C-410F-91D3-961BFF26887A}">
      <dgm:prSet phldrT="[Text]"/>
      <dgm:spPr/>
      <dgm:t>
        <a:bodyPr/>
        <a:lstStyle/>
        <a:p>
          <a:r>
            <a:rPr lang="en-GB" dirty="0"/>
            <a:t>Train and Tune a model to classify:</a:t>
          </a:r>
        </a:p>
      </dgm:t>
    </dgm:pt>
    <dgm:pt modelId="{C9A486BE-D472-40BA-81CA-7C480FB28049}" type="parTrans" cxnId="{E06EFF15-7FC9-4FA5-A2B4-6D63345CAC75}">
      <dgm:prSet/>
      <dgm:spPr/>
      <dgm:t>
        <a:bodyPr/>
        <a:lstStyle/>
        <a:p>
          <a:endParaRPr lang="en-GB"/>
        </a:p>
      </dgm:t>
    </dgm:pt>
    <dgm:pt modelId="{50883CCD-61F6-4524-A80E-F6501ED5FA14}" type="sibTrans" cxnId="{E06EFF15-7FC9-4FA5-A2B4-6D63345CAC75}">
      <dgm:prSet/>
      <dgm:spPr/>
      <dgm:t>
        <a:bodyPr/>
        <a:lstStyle/>
        <a:p>
          <a:endParaRPr lang="en-GB"/>
        </a:p>
      </dgm:t>
    </dgm:pt>
    <dgm:pt modelId="{FC168CA0-51AB-4C99-8B53-71A2856CA619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Flow intervals leading to slug flow (True)</a:t>
          </a:r>
        </a:p>
      </dgm:t>
    </dgm:pt>
    <dgm:pt modelId="{4FBC6C70-05D6-4F68-BC37-E79DE62B4874}" type="parTrans" cxnId="{8D492400-3B1D-48A8-9457-ADF83FC76B7F}">
      <dgm:prSet/>
      <dgm:spPr/>
      <dgm:t>
        <a:bodyPr/>
        <a:lstStyle/>
        <a:p>
          <a:endParaRPr lang="en-GB"/>
        </a:p>
      </dgm:t>
    </dgm:pt>
    <dgm:pt modelId="{C1896EAB-8A48-4849-8F3F-71E50D95CE62}" type="sibTrans" cxnId="{8D492400-3B1D-48A8-9457-ADF83FC76B7F}">
      <dgm:prSet/>
      <dgm:spPr/>
      <dgm:t>
        <a:bodyPr/>
        <a:lstStyle/>
        <a:p>
          <a:endParaRPr lang="en-GB"/>
        </a:p>
      </dgm:t>
    </dgm:pt>
    <dgm:pt modelId="{CEF635DB-87CC-4913-8950-DEAA5E68AE3D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Flow intervals leading to normal flow (False)</a:t>
          </a:r>
        </a:p>
      </dgm:t>
    </dgm:pt>
    <dgm:pt modelId="{ED5994C9-000F-4EBA-89BE-BD0D7C420032}" type="parTrans" cxnId="{1F7C8CA9-213E-41C5-908E-8F2340FC24D8}">
      <dgm:prSet/>
      <dgm:spPr/>
      <dgm:t>
        <a:bodyPr/>
        <a:lstStyle/>
        <a:p>
          <a:endParaRPr lang="en-GB"/>
        </a:p>
      </dgm:t>
    </dgm:pt>
    <dgm:pt modelId="{3D9DC962-C1ED-42F4-875B-8F2AE3FB51B6}" type="sibTrans" cxnId="{1F7C8CA9-213E-41C5-908E-8F2340FC24D8}">
      <dgm:prSet/>
      <dgm:spPr/>
      <dgm:t>
        <a:bodyPr/>
        <a:lstStyle/>
        <a:p>
          <a:endParaRPr lang="en-GB"/>
        </a:p>
      </dgm:t>
    </dgm:pt>
    <dgm:pt modelId="{C9F4606A-8423-460B-B6DA-FB2DC7B8EB49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Logistic Regression</a:t>
          </a:r>
        </a:p>
      </dgm:t>
    </dgm:pt>
    <dgm:pt modelId="{8C12B98A-0F18-4EFB-A05D-4CAD18E06FF6}" type="parTrans" cxnId="{65B66CBC-1DDE-412A-8F6D-7FC91CEC3590}">
      <dgm:prSet/>
      <dgm:spPr/>
      <dgm:t>
        <a:bodyPr/>
        <a:lstStyle/>
        <a:p>
          <a:endParaRPr lang="en-GB"/>
        </a:p>
      </dgm:t>
    </dgm:pt>
    <dgm:pt modelId="{C96D7B2A-17C0-4D68-992C-582DF1C72B14}" type="sibTrans" cxnId="{65B66CBC-1DDE-412A-8F6D-7FC91CEC3590}">
      <dgm:prSet/>
      <dgm:spPr/>
      <dgm:t>
        <a:bodyPr/>
        <a:lstStyle/>
        <a:p>
          <a:endParaRPr lang="en-GB"/>
        </a:p>
      </dgm:t>
    </dgm:pt>
    <dgm:pt modelId="{8B682AA5-56B9-41AF-8A26-2871C283A995}">
      <dgm:prSet phldrT="[Text]"/>
      <dgm:spPr/>
      <dgm:t>
        <a:bodyPr/>
        <a:lstStyle/>
        <a:p>
          <a:r>
            <a:rPr lang="en-GB" b="1" dirty="0"/>
            <a:t>Data Labelling</a:t>
          </a:r>
        </a:p>
      </dgm:t>
    </dgm:pt>
    <dgm:pt modelId="{1934D92F-1D0C-4D9C-A388-7C44A0A0F7D2}" type="parTrans" cxnId="{89C4CBB2-831C-46E1-9756-B1AC77A50DF9}">
      <dgm:prSet/>
      <dgm:spPr/>
      <dgm:t>
        <a:bodyPr/>
        <a:lstStyle/>
        <a:p>
          <a:endParaRPr lang="en-GB"/>
        </a:p>
      </dgm:t>
    </dgm:pt>
    <dgm:pt modelId="{E0FA4599-601D-4833-AE3A-3D6B89B3AA6C}" type="sibTrans" cxnId="{89C4CBB2-831C-46E1-9756-B1AC77A50DF9}">
      <dgm:prSet/>
      <dgm:spPr/>
      <dgm:t>
        <a:bodyPr/>
        <a:lstStyle/>
        <a:p>
          <a:endParaRPr lang="en-GB"/>
        </a:p>
      </dgm:t>
    </dgm:pt>
    <dgm:pt modelId="{30069BD9-9BC6-444D-B2E6-D8D9A05088B2}">
      <dgm:prSet phldrT="[Text]"/>
      <dgm:spPr/>
      <dgm:t>
        <a:bodyPr/>
        <a:lstStyle/>
        <a:p>
          <a:r>
            <a:rPr lang="en-GB" dirty="0"/>
            <a:t>Slug Peaks</a:t>
          </a:r>
        </a:p>
      </dgm:t>
    </dgm:pt>
    <dgm:pt modelId="{056929E2-C6DE-4A0C-A886-98A8526D5DC1}" type="parTrans" cxnId="{0550BBEC-2F8B-4015-9685-F15F4F22C26B}">
      <dgm:prSet/>
      <dgm:spPr/>
      <dgm:t>
        <a:bodyPr/>
        <a:lstStyle/>
        <a:p>
          <a:endParaRPr lang="en-GB"/>
        </a:p>
      </dgm:t>
    </dgm:pt>
    <dgm:pt modelId="{D17F9A48-9591-4797-A0E0-95A3847C8D57}" type="sibTrans" cxnId="{0550BBEC-2F8B-4015-9685-F15F4F22C26B}">
      <dgm:prSet/>
      <dgm:spPr/>
      <dgm:t>
        <a:bodyPr/>
        <a:lstStyle/>
        <a:p>
          <a:endParaRPr lang="en-GB"/>
        </a:p>
      </dgm:t>
    </dgm:pt>
    <dgm:pt modelId="{8398A8A5-1F06-44DA-BF31-261B71C7FB44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GB" dirty="0"/>
            <a:t>Random Forest </a:t>
          </a:r>
        </a:p>
      </dgm:t>
    </dgm:pt>
    <dgm:pt modelId="{3A90D916-5498-4E25-B928-C89E3DB480AB}" type="parTrans" cxnId="{C7700EDC-4EC7-44F4-AFA4-393F8A95695C}">
      <dgm:prSet/>
      <dgm:spPr/>
      <dgm:t>
        <a:bodyPr/>
        <a:lstStyle/>
        <a:p>
          <a:endParaRPr lang="en-GB"/>
        </a:p>
      </dgm:t>
    </dgm:pt>
    <dgm:pt modelId="{E9B9B147-B627-46E5-BCDB-4FD20C9E273D}" type="sibTrans" cxnId="{C7700EDC-4EC7-44F4-AFA4-393F8A95695C}">
      <dgm:prSet/>
      <dgm:spPr/>
      <dgm:t>
        <a:bodyPr/>
        <a:lstStyle/>
        <a:p>
          <a:endParaRPr lang="en-GB"/>
        </a:p>
      </dgm:t>
    </dgm:pt>
    <dgm:pt modelId="{88628D8D-ECFD-407D-9CFF-6650AD23C4AE}">
      <dgm:prSet phldrT="[Text]"/>
      <dgm:spPr/>
      <dgm:t>
        <a:bodyPr/>
        <a:lstStyle/>
        <a:p>
          <a:r>
            <a:rPr lang="en-GB" dirty="0"/>
            <a:t>Deep Feature Engineering</a:t>
          </a:r>
        </a:p>
      </dgm:t>
    </dgm:pt>
    <dgm:pt modelId="{21AD7ED6-A49B-4B43-86A5-25053CDE622C}" type="parTrans" cxnId="{2DE29BB4-0F39-4073-A3D6-DF2C512D44B0}">
      <dgm:prSet/>
      <dgm:spPr/>
      <dgm:t>
        <a:bodyPr/>
        <a:lstStyle/>
        <a:p>
          <a:endParaRPr lang="en-GB"/>
        </a:p>
      </dgm:t>
    </dgm:pt>
    <dgm:pt modelId="{31E6AA84-09C7-4074-BEB7-36942F5565FA}" type="sibTrans" cxnId="{2DE29BB4-0F39-4073-A3D6-DF2C512D44B0}">
      <dgm:prSet/>
      <dgm:spPr/>
      <dgm:t>
        <a:bodyPr/>
        <a:lstStyle/>
        <a:p>
          <a:endParaRPr lang="en-GB"/>
        </a:p>
      </dgm:t>
    </dgm:pt>
    <dgm:pt modelId="{768BF638-714B-45F4-80FF-BFB666D8077F}">
      <dgm:prSet phldrT="[Text]"/>
      <dgm:spPr/>
      <dgm:t>
        <a:bodyPr/>
        <a:lstStyle/>
        <a:p>
          <a:r>
            <a:rPr lang="en-GB" dirty="0"/>
            <a:t>First Slug</a:t>
          </a:r>
        </a:p>
      </dgm:t>
    </dgm:pt>
    <dgm:pt modelId="{727939AA-2030-4D84-8B86-0DAA9B61723B}" type="parTrans" cxnId="{40E66857-2CB9-4A91-976E-5DA715B03213}">
      <dgm:prSet/>
      <dgm:spPr/>
      <dgm:t>
        <a:bodyPr/>
        <a:lstStyle/>
        <a:p>
          <a:endParaRPr lang="en-GB"/>
        </a:p>
      </dgm:t>
    </dgm:pt>
    <dgm:pt modelId="{89B8B92F-FDD7-46AE-B67A-3BC90ED1AD88}" type="sibTrans" cxnId="{40E66857-2CB9-4A91-976E-5DA715B03213}">
      <dgm:prSet/>
      <dgm:spPr/>
      <dgm:t>
        <a:bodyPr/>
        <a:lstStyle/>
        <a:p>
          <a:endParaRPr lang="en-GB"/>
        </a:p>
      </dgm:t>
    </dgm:pt>
    <dgm:pt modelId="{92AE8661-680B-4BEB-BDEA-8F8C5CDE00FA}">
      <dgm:prSet phldrT="[Text]"/>
      <dgm:spPr/>
      <dgm:t>
        <a:bodyPr/>
        <a:lstStyle/>
        <a:p>
          <a:r>
            <a:rPr lang="en-GB" dirty="0"/>
            <a:t>Intervals</a:t>
          </a:r>
        </a:p>
      </dgm:t>
    </dgm:pt>
    <dgm:pt modelId="{F3018B11-65E8-4D34-A779-A093B53F7599}" type="parTrans" cxnId="{3AFC0F06-E3C8-4FC9-B3EC-F91DBB8CE0E5}">
      <dgm:prSet/>
      <dgm:spPr/>
      <dgm:t>
        <a:bodyPr/>
        <a:lstStyle/>
        <a:p>
          <a:endParaRPr lang="en-GB"/>
        </a:p>
      </dgm:t>
    </dgm:pt>
    <dgm:pt modelId="{E9C565D4-9B2A-4715-98CD-F23422E11BEC}" type="sibTrans" cxnId="{3AFC0F06-E3C8-4FC9-B3EC-F91DBB8CE0E5}">
      <dgm:prSet/>
      <dgm:spPr/>
      <dgm:t>
        <a:bodyPr/>
        <a:lstStyle/>
        <a:p>
          <a:endParaRPr lang="en-GB"/>
        </a:p>
      </dgm:t>
    </dgm:pt>
    <dgm:pt modelId="{D8009802-6B03-4DCC-8EAE-DA712688F1C3}" type="pres">
      <dgm:prSet presAssocID="{197FE0AA-926F-41BC-B738-6DE80FD353F5}" presName="linearFlow" presStyleCnt="0">
        <dgm:presLayoutVars>
          <dgm:dir/>
          <dgm:animLvl val="lvl"/>
          <dgm:resizeHandles/>
        </dgm:presLayoutVars>
      </dgm:prSet>
      <dgm:spPr/>
    </dgm:pt>
    <dgm:pt modelId="{4263886C-970E-4A1D-A6D6-0C28DBB8C13D}" type="pres">
      <dgm:prSet presAssocID="{7D1A563D-B093-4185-9F11-40D540B6DC71}" presName="compositeNode" presStyleCnt="0">
        <dgm:presLayoutVars>
          <dgm:bulletEnabled val="1"/>
        </dgm:presLayoutVars>
      </dgm:prSet>
      <dgm:spPr/>
    </dgm:pt>
    <dgm:pt modelId="{6C91DD24-0680-4A15-B200-0A3A75435B01}" type="pres">
      <dgm:prSet presAssocID="{7D1A563D-B093-4185-9F11-40D540B6DC71}" presName="image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ullseye"/>
        </a:ext>
      </dgm:extLst>
    </dgm:pt>
    <dgm:pt modelId="{B2F09DA4-BD24-44E6-868B-BB881F3EC983}" type="pres">
      <dgm:prSet presAssocID="{7D1A563D-B093-4185-9F11-40D540B6DC71}" presName="childNode" presStyleLbl="node1" presStyleIdx="0" presStyleCnt="4">
        <dgm:presLayoutVars>
          <dgm:bulletEnabled val="1"/>
        </dgm:presLayoutVars>
      </dgm:prSet>
      <dgm:spPr/>
    </dgm:pt>
    <dgm:pt modelId="{F20A9A3C-BB68-48F3-B6CA-39FEBEF3E298}" type="pres">
      <dgm:prSet presAssocID="{7D1A563D-B093-4185-9F11-40D540B6DC71}" presName="parentNode" presStyleLbl="revTx" presStyleIdx="0" presStyleCnt="4">
        <dgm:presLayoutVars>
          <dgm:chMax val="0"/>
          <dgm:bulletEnabled val="1"/>
        </dgm:presLayoutVars>
      </dgm:prSet>
      <dgm:spPr/>
    </dgm:pt>
    <dgm:pt modelId="{2FAA6D4B-EC52-436B-8B44-7E7CABF8C793}" type="pres">
      <dgm:prSet presAssocID="{2B7216C5-F50B-4021-982C-F3348117B51D}" presName="sibTrans" presStyleCnt="0"/>
      <dgm:spPr/>
    </dgm:pt>
    <dgm:pt modelId="{D411E0D4-5AA9-43DA-93CC-32C874C97B1C}" type="pres">
      <dgm:prSet presAssocID="{6E300223-E85A-48A4-826D-9E774714569D}" presName="compositeNode" presStyleCnt="0">
        <dgm:presLayoutVars>
          <dgm:bulletEnabled val="1"/>
        </dgm:presLayoutVars>
      </dgm:prSet>
      <dgm:spPr/>
    </dgm:pt>
    <dgm:pt modelId="{91A67124-D823-4758-B3B7-69C106BD296C}" type="pres">
      <dgm:prSet presAssocID="{6E300223-E85A-48A4-826D-9E774714569D}" presName="image" presStyleLbl="fgImgPlac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E1C2CF92-8A4F-4CF7-B0F9-66BAA0FB65C7}" type="pres">
      <dgm:prSet presAssocID="{6E300223-E85A-48A4-826D-9E774714569D}" presName="childNode" presStyleLbl="node1" presStyleIdx="1" presStyleCnt="4">
        <dgm:presLayoutVars>
          <dgm:bulletEnabled val="1"/>
        </dgm:presLayoutVars>
      </dgm:prSet>
      <dgm:spPr/>
    </dgm:pt>
    <dgm:pt modelId="{99FACB55-C938-4414-9670-0A54E0C3D093}" type="pres">
      <dgm:prSet presAssocID="{6E300223-E85A-48A4-826D-9E774714569D}" presName="parentNode" presStyleLbl="revTx" presStyleIdx="1" presStyleCnt="4">
        <dgm:presLayoutVars>
          <dgm:chMax val="0"/>
          <dgm:bulletEnabled val="1"/>
        </dgm:presLayoutVars>
      </dgm:prSet>
      <dgm:spPr/>
    </dgm:pt>
    <dgm:pt modelId="{F0D4A9A4-DE00-416D-B3B9-04FE2121E3FF}" type="pres">
      <dgm:prSet presAssocID="{CFF7558A-9A17-4935-A918-F617DDA93BA0}" presName="sibTrans" presStyleCnt="0"/>
      <dgm:spPr/>
    </dgm:pt>
    <dgm:pt modelId="{4D9157C6-75F2-490C-8A7A-339698AC8F0F}" type="pres">
      <dgm:prSet presAssocID="{92229FDB-E05C-4C83-A7A6-E7EC082D1F4E}" presName="compositeNode" presStyleCnt="0">
        <dgm:presLayoutVars>
          <dgm:bulletEnabled val="1"/>
        </dgm:presLayoutVars>
      </dgm:prSet>
      <dgm:spPr/>
    </dgm:pt>
    <dgm:pt modelId="{1BEE533D-DD64-4EA0-AB94-65D825344524}" type="pres">
      <dgm:prSet presAssocID="{92229FDB-E05C-4C83-A7A6-E7EC082D1F4E}" presName="image" presStyleLbl="fgImgPlac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68BEE581-252C-4074-9754-826EBEB23353}" type="pres">
      <dgm:prSet presAssocID="{92229FDB-E05C-4C83-A7A6-E7EC082D1F4E}" presName="childNode" presStyleLbl="node1" presStyleIdx="2" presStyleCnt="4">
        <dgm:presLayoutVars>
          <dgm:bulletEnabled val="1"/>
        </dgm:presLayoutVars>
      </dgm:prSet>
      <dgm:spPr/>
    </dgm:pt>
    <dgm:pt modelId="{E3D7ED4D-D5A1-4F94-B1C6-1260AC4CCBCC}" type="pres">
      <dgm:prSet presAssocID="{92229FDB-E05C-4C83-A7A6-E7EC082D1F4E}" presName="parentNode" presStyleLbl="revTx" presStyleIdx="2" presStyleCnt="4">
        <dgm:presLayoutVars>
          <dgm:chMax val="0"/>
          <dgm:bulletEnabled val="1"/>
        </dgm:presLayoutVars>
      </dgm:prSet>
      <dgm:spPr/>
    </dgm:pt>
    <dgm:pt modelId="{2FE72EC4-B2E1-442D-8A24-AA84676CA1DE}" type="pres">
      <dgm:prSet presAssocID="{13D19025-843D-410E-AB69-A9C66F47074E}" presName="sibTrans" presStyleCnt="0"/>
      <dgm:spPr/>
    </dgm:pt>
    <dgm:pt modelId="{E7D153D8-8116-4D56-B710-7810337D3BD4}" type="pres">
      <dgm:prSet presAssocID="{8B682AA5-56B9-41AF-8A26-2871C283A995}" presName="compositeNode" presStyleCnt="0">
        <dgm:presLayoutVars>
          <dgm:bulletEnabled val="1"/>
        </dgm:presLayoutVars>
      </dgm:prSet>
      <dgm:spPr/>
    </dgm:pt>
    <dgm:pt modelId="{9F5FAC44-E2F4-4053-88DD-C71193DF36A3}" type="pres">
      <dgm:prSet presAssocID="{8B682AA5-56B9-41AF-8A26-2871C283A995}" presName="image" presStyleLbl="fgImgPlac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esearch"/>
        </a:ext>
      </dgm:extLst>
    </dgm:pt>
    <dgm:pt modelId="{8EEA1C3A-A861-4726-8EF7-F7A99448C83F}" type="pres">
      <dgm:prSet presAssocID="{8B682AA5-56B9-41AF-8A26-2871C283A995}" presName="childNode" presStyleLbl="node1" presStyleIdx="3" presStyleCnt="4">
        <dgm:presLayoutVars>
          <dgm:bulletEnabled val="1"/>
        </dgm:presLayoutVars>
      </dgm:prSet>
      <dgm:spPr/>
    </dgm:pt>
    <dgm:pt modelId="{4C4A7791-55F5-46A0-AEA1-9C949E5C9235}" type="pres">
      <dgm:prSet presAssocID="{8B682AA5-56B9-41AF-8A26-2871C283A995}" presName="parentNode" presStyleLbl="revTx" presStyleIdx="3" presStyleCnt="4">
        <dgm:presLayoutVars>
          <dgm:chMax val="0"/>
          <dgm:bulletEnabled val="1"/>
        </dgm:presLayoutVars>
      </dgm:prSet>
      <dgm:spPr/>
    </dgm:pt>
  </dgm:ptLst>
  <dgm:cxnLst>
    <dgm:cxn modelId="{8D492400-3B1D-48A8-9457-ADF83FC76B7F}" srcId="{ED845A55-FC9C-410F-91D3-961BFF26887A}" destId="{FC168CA0-51AB-4C99-8B53-71A2856CA619}" srcOrd="0" destOrd="0" parTransId="{4FBC6C70-05D6-4F68-BC37-E79DE62B4874}" sibTransId="{C1896EAB-8A48-4849-8F3F-71E50D95CE62}"/>
    <dgm:cxn modelId="{F35F9600-F8C2-4359-BFBC-01BC51CB759F}" type="presOf" srcId="{CEF635DB-87CC-4913-8950-DEAA5E68AE3D}" destId="{B2F09DA4-BD24-44E6-868B-BB881F3EC983}" srcOrd="0" destOrd="2" presId="urn:microsoft.com/office/officeart/2005/8/layout/hList2"/>
    <dgm:cxn modelId="{3AFC0F06-E3C8-4FC9-B3EC-F91DBB8CE0E5}" srcId="{8B682AA5-56B9-41AF-8A26-2871C283A995}" destId="{92AE8661-680B-4BEB-BDEA-8F8C5CDE00FA}" srcOrd="2" destOrd="0" parTransId="{F3018B11-65E8-4D34-A779-A093B53F7599}" sibTransId="{E9C565D4-9B2A-4715-98CD-F23422E11BEC}"/>
    <dgm:cxn modelId="{C0BBEB0D-FEDC-412A-815B-E4C680FB077D}" type="presOf" srcId="{AFE051E1-565A-4AB1-8D7C-BE41BC42BB52}" destId="{E1C2CF92-8A4F-4CF7-B0F9-66BAA0FB65C7}" srcOrd="0" destOrd="0" presId="urn:microsoft.com/office/officeart/2005/8/layout/hList2"/>
    <dgm:cxn modelId="{F046B714-38D0-4945-B834-6AD21602D4B3}" type="presOf" srcId="{768BF638-714B-45F4-80FF-BFB666D8077F}" destId="{8EEA1C3A-A861-4726-8EF7-F7A99448C83F}" srcOrd="0" destOrd="1" presId="urn:microsoft.com/office/officeart/2005/8/layout/hList2"/>
    <dgm:cxn modelId="{E06EFF15-7FC9-4FA5-A2B4-6D63345CAC75}" srcId="{7D1A563D-B093-4185-9F11-40D540B6DC71}" destId="{ED845A55-FC9C-410F-91D3-961BFF26887A}" srcOrd="0" destOrd="0" parTransId="{C9A486BE-D472-40BA-81CA-7C480FB28049}" sibTransId="{50883CCD-61F6-4524-A80E-F6501ED5FA14}"/>
    <dgm:cxn modelId="{0FAE0919-06EE-4943-9A7B-6D37D9E417EC}" type="presOf" srcId="{ED845A55-FC9C-410F-91D3-961BFF26887A}" destId="{B2F09DA4-BD24-44E6-868B-BB881F3EC983}" srcOrd="0" destOrd="0" presId="urn:microsoft.com/office/officeart/2005/8/layout/hList2"/>
    <dgm:cxn modelId="{1FD41921-6A57-4EA6-81F3-615CD689F184}" srcId="{197FE0AA-926F-41BC-B738-6DE80FD353F5}" destId="{92229FDB-E05C-4C83-A7A6-E7EC082D1F4E}" srcOrd="2" destOrd="0" parTransId="{CC95E3F1-80E8-4063-B048-31E7C401D120}" sibTransId="{13D19025-843D-410E-AB69-A9C66F47074E}"/>
    <dgm:cxn modelId="{872C3C60-5ADF-4E6C-B53C-F7A7F5BC8E60}" type="presOf" srcId="{8B682AA5-56B9-41AF-8A26-2871C283A995}" destId="{4C4A7791-55F5-46A0-AEA1-9C949E5C9235}" srcOrd="0" destOrd="0" presId="urn:microsoft.com/office/officeart/2005/8/layout/hList2"/>
    <dgm:cxn modelId="{34756642-9636-4F38-B64D-A19EA6DEBBFD}" type="presOf" srcId="{3D0E2B25-4F80-4C99-AAB2-909A08B4EEA0}" destId="{68BEE581-252C-4074-9754-826EBEB23353}" srcOrd="0" destOrd="0" presId="urn:microsoft.com/office/officeart/2005/8/layout/hList2"/>
    <dgm:cxn modelId="{53F2624E-56E0-41C9-A1FE-AD5FFFB1A76E}" type="presOf" srcId="{88628D8D-ECFD-407D-9CFF-6650AD23C4AE}" destId="{68BEE581-252C-4074-9754-826EBEB23353}" srcOrd="0" destOrd="1" presId="urn:microsoft.com/office/officeart/2005/8/layout/hList2"/>
    <dgm:cxn modelId="{40E66857-2CB9-4A91-976E-5DA715B03213}" srcId="{8B682AA5-56B9-41AF-8A26-2871C283A995}" destId="{768BF638-714B-45F4-80FF-BFB666D8077F}" srcOrd="1" destOrd="0" parTransId="{727939AA-2030-4D84-8B86-0DAA9B61723B}" sibTransId="{89B8B92F-FDD7-46AE-B67A-3BC90ED1AD88}"/>
    <dgm:cxn modelId="{53F68587-1AE9-479F-9967-986DA6A5156A}" srcId="{6E300223-E85A-48A4-826D-9E774714569D}" destId="{AFE051E1-565A-4AB1-8D7C-BE41BC42BB52}" srcOrd="0" destOrd="0" parTransId="{91F5792C-66E0-4F62-9521-765A366F0CC9}" sibTransId="{C51D51BD-FE51-49AA-985B-404C86DF3A60}"/>
    <dgm:cxn modelId="{C0ECF28A-74E6-4F45-BFF8-084EF1ED4D98}" type="presOf" srcId="{7D1A563D-B093-4185-9F11-40D540B6DC71}" destId="{F20A9A3C-BB68-48F3-B6CA-39FEBEF3E298}" srcOrd="0" destOrd="0" presId="urn:microsoft.com/office/officeart/2005/8/layout/hList2"/>
    <dgm:cxn modelId="{352E64A0-4E9A-4BC0-AEA4-0EBEF45930DF}" type="presOf" srcId="{197FE0AA-926F-41BC-B738-6DE80FD353F5}" destId="{D8009802-6B03-4DCC-8EAE-DA712688F1C3}" srcOrd="0" destOrd="0" presId="urn:microsoft.com/office/officeart/2005/8/layout/hList2"/>
    <dgm:cxn modelId="{61B975A2-80B4-43F0-808E-DDB229ECFD7C}" type="presOf" srcId="{92AE8661-680B-4BEB-BDEA-8F8C5CDE00FA}" destId="{8EEA1C3A-A861-4726-8EF7-F7A99448C83F}" srcOrd="0" destOrd="2" presId="urn:microsoft.com/office/officeart/2005/8/layout/hList2"/>
    <dgm:cxn modelId="{1F7C8CA9-213E-41C5-908E-8F2340FC24D8}" srcId="{ED845A55-FC9C-410F-91D3-961BFF26887A}" destId="{CEF635DB-87CC-4913-8950-DEAA5E68AE3D}" srcOrd="1" destOrd="0" parTransId="{ED5994C9-000F-4EBA-89BE-BD0D7C420032}" sibTransId="{3D9DC962-C1ED-42F4-875B-8F2AE3FB51B6}"/>
    <dgm:cxn modelId="{67C9C3AD-31AB-4DE7-8927-7B441BB9670A}" srcId="{197FE0AA-926F-41BC-B738-6DE80FD353F5}" destId="{6E300223-E85A-48A4-826D-9E774714569D}" srcOrd="1" destOrd="0" parTransId="{5049F82E-15CE-4508-9F66-17AA14AA2495}" sibTransId="{CFF7558A-9A17-4935-A918-F617DDA93BA0}"/>
    <dgm:cxn modelId="{89C4CBB2-831C-46E1-9756-B1AC77A50DF9}" srcId="{197FE0AA-926F-41BC-B738-6DE80FD353F5}" destId="{8B682AA5-56B9-41AF-8A26-2871C283A995}" srcOrd="3" destOrd="0" parTransId="{1934D92F-1D0C-4D9C-A388-7C44A0A0F7D2}" sibTransId="{E0FA4599-601D-4833-AE3A-3D6B89B3AA6C}"/>
    <dgm:cxn modelId="{2DE29BB4-0F39-4073-A3D6-DF2C512D44B0}" srcId="{92229FDB-E05C-4C83-A7A6-E7EC082D1F4E}" destId="{88628D8D-ECFD-407D-9CFF-6650AD23C4AE}" srcOrd="1" destOrd="0" parTransId="{21AD7ED6-A49B-4B43-86A5-25053CDE622C}" sibTransId="{31E6AA84-09C7-4074-BEB7-36942F5565FA}"/>
    <dgm:cxn modelId="{65B66CBC-1DDE-412A-8F6D-7FC91CEC3590}" srcId="{73E7B6CF-7716-480B-B89C-D4F24C1E6D05}" destId="{C9F4606A-8423-460B-B6DA-FB2DC7B8EB49}" srcOrd="1" destOrd="0" parTransId="{8C12B98A-0F18-4EFB-A05D-4CAD18E06FF6}" sibTransId="{C96D7B2A-17C0-4D68-992C-582DF1C72B14}"/>
    <dgm:cxn modelId="{D43F22C0-1132-4D2C-B624-1840A45F8BBF}" type="presOf" srcId="{FC168CA0-51AB-4C99-8B53-71A2856CA619}" destId="{B2F09DA4-BD24-44E6-868B-BB881F3EC983}" srcOrd="0" destOrd="1" presId="urn:microsoft.com/office/officeart/2005/8/layout/hList2"/>
    <dgm:cxn modelId="{4C92B3C6-F8DA-41CF-ACAF-42239941905D}" type="presOf" srcId="{C9F4606A-8423-460B-B6DA-FB2DC7B8EB49}" destId="{E1C2CF92-8A4F-4CF7-B0F9-66BAA0FB65C7}" srcOrd="0" destOrd="3" presId="urn:microsoft.com/office/officeart/2005/8/layout/hList2"/>
    <dgm:cxn modelId="{A8C748C8-3EE8-4D5E-B75D-2FA93F05B8DF}" type="presOf" srcId="{8398A8A5-1F06-44DA-BF31-261B71C7FB44}" destId="{E1C2CF92-8A4F-4CF7-B0F9-66BAA0FB65C7}" srcOrd="0" destOrd="2" presId="urn:microsoft.com/office/officeart/2005/8/layout/hList2"/>
    <dgm:cxn modelId="{EBAB01CA-1BC3-4515-8C38-0091593E34B7}" type="presOf" srcId="{92229FDB-E05C-4C83-A7A6-E7EC082D1F4E}" destId="{E3D7ED4D-D5A1-4F94-B1C6-1260AC4CCBCC}" srcOrd="0" destOrd="0" presId="urn:microsoft.com/office/officeart/2005/8/layout/hList2"/>
    <dgm:cxn modelId="{D5DE82D0-6ABD-4558-A9A9-195B720FF177}" srcId="{92229FDB-E05C-4C83-A7A6-E7EC082D1F4E}" destId="{3D0E2B25-4F80-4C99-AAB2-909A08B4EEA0}" srcOrd="0" destOrd="0" parTransId="{5834735F-E7E5-417F-BB8A-F7D7E8224117}" sibTransId="{19671FDB-81E3-45D0-A740-E086BDF82B69}"/>
    <dgm:cxn modelId="{E2DE8BD1-371A-41E4-97DF-F8924B4B4859}" srcId="{197FE0AA-926F-41BC-B738-6DE80FD353F5}" destId="{7D1A563D-B093-4185-9F11-40D540B6DC71}" srcOrd="0" destOrd="0" parTransId="{A85C21E1-4B42-4C17-B6BC-6FEC3F0E2F3C}" sibTransId="{2B7216C5-F50B-4021-982C-F3348117B51D}"/>
    <dgm:cxn modelId="{25D5F1D2-F60F-42C2-8929-6264F98B7872}" type="presOf" srcId="{6E300223-E85A-48A4-826D-9E774714569D}" destId="{99FACB55-C938-4414-9670-0A54E0C3D093}" srcOrd="0" destOrd="0" presId="urn:microsoft.com/office/officeart/2005/8/layout/hList2"/>
    <dgm:cxn modelId="{62F399DB-F662-45D8-AD45-1DD3CFDFC27D}" srcId="{6E300223-E85A-48A4-826D-9E774714569D}" destId="{73E7B6CF-7716-480B-B89C-D4F24C1E6D05}" srcOrd="1" destOrd="0" parTransId="{549FD469-2638-4E08-8E08-0C7224134B22}" sibTransId="{34A8603C-17A1-42A0-A39E-32550F74DB52}"/>
    <dgm:cxn modelId="{C7700EDC-4EC7-44F4-AFA4-393F8A95695C}" srcId="{73E7B6CF-7716-480B-B89C-D4F24C1E6D05}" destId="{8398A8A5-1F06-44DA-BF31-261B71C7FB44}" srcOrd="0" destOrd="0" parTransId="{3A90D916-5498-4E25-B928-C89E3DB480AB}" sibTransId="{E9B9B147-B627-46E5-BCDB-4FD20C9E273D}"/>
    <dgm:cxn modelId="{A5CFB7DF-ACA0-4781-B25F-A34F6F34F9EC}" type="presOf" srcId="{73E7B6CF-7716-480B-B89C-D4F24C1E6D05}" destId="{E1C2CF92-8A4F-4CF7-B0F9-66BAA0FB65C7}" srcOrd="0" destOrd="1" presId="urn:microsoft.com/office/officeart/2005/8/layout/hList2"/>
    <dgm:cxn modelId="{0550BBEC-2F8B-4015-9685-F15F4F22C26B}" srcId="{8B682AA5-56B9-41AF-8A26-2871C283A995}" destId="{30069BD9-9BC6-444D-B2E6-D8D9A05088B2}" srcOrd="0" destOrd="0" parTransId="{056929E2-C6DE-4A0C-A886-98A8526D5DC1}" sibTransId="{D17F9A48-9591-4797-A0E0-95A3847C8D57}"/>
    <dgm:cxn modelId="{13F06FF1-C954-4CD6-965F-75C04E908B7C}" type="presOf" srcId="{30069BD9-9BC6-444D-B2E6-D8D9A05088B2}" destId="{8EEA1C3A-A861-4726-8EF7-F7A99448C83F}" srcOrd="0" destOrd="0" presId="urn:microsoft.com/office/officeart/2005/8/layout/hList2"/>
    <dgm:cxn modelId="{A35B4BA8-954C-4624-8F1D-663B1BDE25F8}" type="presParOf" srcId="{D8009802-6B03-4DCC-8EAE-DA712688F1C3}" destId="{4263886C-970E-4A1D-A6D6-0C28DBB8C13D}" srcOrd="0" destOrd="0" presId="urn:microsoft.com/office/officeart/2005/8/layout/hList2"/>
    <dgm:cxn modelId="{9E6D318F-A900-40B9-AC42-B8A95D7EFF2B}" type="presParOf" srcId="{4263886C-970E-4A1D-A6D6-0C28DBB8C13D}" destId="{6C91DD24-0680-4A15-B200-0A3A75435B01}" srcOrd="0" destOrd="0" presId="urn:microsoft.com/office/officeart/2005/8/layout/hList2"/>
    <dgm:cxn modelId="{8695CFF4-097B-489B-8619-BC9437CB067F}" type="presParOf" srcId="{4263886C-970E-4A1D-A6D6-0C28DBB8C13D}" destId="{B2F09DA4-BD24-44E6-868B-BB881F3EC983}" srcOrd="1" destOrd="0" presId="urn:microsoft.com/office/officeart/2005/8/layout/hList2"/>
    <dgm:cxn modelId="{3BA6416E-22AC-4903-9740-A478E25DBF70}" type="presParOf" srcId="{4263886C-970E-4A1D-A6D6-0C28DBB8C13D}" destId="{F20A9A3C-BB68-48F3-B6CA-39FEBEF3E298}" srcOrd="2" destOrd="0" presId="urn:microsoft.com/office/officeart/2005/8/layout/hList2"/>
    <dgm:cxn modelId="{4BB19E12-0823-44B7-9FA3-6C2E8FB657FB}" type="presParOf" srcId="{D8009802-6B03-4DCC-8EAE-DA712688F1C3}" destId="{2FAA6D4B-EC52-436B-8B44-7E7CABF8C793}" srcOrd="1" destOrd="0" presId="urn:microsoft.com/office/officeart/2005/8/layout/hList2"/>
    <dgm:cxn modelId="{975BD3CE-AC8C-44BB-B4DF-E4C59E09272F}" type="presParOf" srcId="{D8009802-6B03-4DCC-8EAE-DA712688F1C3}" destId="{D411E0D4-5AA9-43DA-93CC-32C874C97B1C}" srcOrd="2" destOrd="0" presId="urn:microsoft.com/office/officeart/2005/8/layout/hList2"/>
    <dgm:cxn modelId="{40C92A09-F254-4990-BDB9-C2950B165DFA}" type="presParOf" srcId="{D411E0D4-5AA9-43DA-93CC-32C874C97B1C}" destId="{91A67124-D823-4758-B3B7-69C106BD296C}" srcOrd="0" destOrd="0" presId="urn:microsoft.com/office/officeart/2005/8/layout/hList2"/>
    <dgm:cxn modelId="{5CE95C02-CE29-45D2-BFD1-0A6399ECB35F}" type="presParOf" srcId="{D411E0D4-5AA9-43DA-93CC-32C874C97B1C}" destId="{E1C2CF92-8A4F-4CF7-B0F9-66BAA0FB65C7}" srcOrd="1" destOrd="0" presId="urn:microsoft.com/office/officeart/2005/8/layout/hList2"/>
    <dgm:cxn modelId="{EF71D9B7-4519-469C-A221-5609B4AF27AD}" type="presParOf" srcId="{D411E0D4-5AA9-43DA-93CC-32C874C97B1C}" destId="{99FACB55-C938-4414-9670-0A54E0C3D093}" srcOrd="2" destOrd="0" presId="urn:microsoft.com/office/officeart/2005/8/layout/hList2"/>
    <dgm:cxn modelId="{D01D39EA-4C5B-4244-B440-1F57188849C4}" type="presParOf" srcId="{D8009802-6B03-4DCC-8EAE-DA712688F1C3}" destId="{F0D4A9A4-DE00-416D-B3B9-04FE2121E3FF}" srcOrd="3" destOrd="0" presId="urn:microsoft.com/office/officeart/2005/8/layout/hList2"/>
    <dgm:cxn modelId="{D917CBE8-FA62-429D-95C9-E682EF9FE501}" type="presParOf" srcId="{D8009802-6B03-4DCC-8EAE-DA712688F1C3}" destId="{4D9157C6-75F2-490C-8A7A-339698AC8F0F}" srcOrd="4" destOrd="0" presId="urn:microsoft.com/office/officeart/2005/8/layout/hList2"/>
    <dgm:cxn modelId="{C22ED1AD-EE0A-4B28-BD37-904F72827F8C}" type="presParOf" srcId="{4D9157C6-75F2-490C-8A7A-339698AC8F0F}" destId="{1BEE533D-DD64-4EA0-AB94-65D825344524}" srcOrd="0" destOrd="0" presId="urn:microsoft.com/office/officeart/2005/8/layout/hList2"/>
    <dgm:cxn modelId="{4DACB342-18E8-440A-B036-3C15B92C1D0C}" type="presParOf" srcId="{4D9157C6-75F2-490C-8A7A-339698AC8F0F}" destId="{68BEE581-252C-4074-9754-826EBEB23353}" srcOrd="1" destOrd="0" presId="urn:microsoft.com/office/officeart/2005/8/layout/hList2"/>
    <dgm:cxn modelId="{D334779B-B78B-4545-AAB7-FF79EE0D5119}" type="presParOf" srcId="{4D9157C6-75F2-490C-8A7A-339698AC8F0F}" destId="{E3D7ED4D-D5A1-4F94-B1C6-1260AC4CCBCC}" srcOrd="2" destOrd="0" presId="urn:microsoft.com/office/officeart/2005/8/layout/hList2"/>
    <dgm:cxn modelId="{E018845C-8A1C-4914-B972-2D2B8AA87330}" type="presParOf" srcId="{D8009802-6B03-4DCC-8EAE-DA712688F1C3}" destId="{2FE72EC4-B2E1-442D-8A24-AA84676CA1DE}" srcOrd="5" destOrd="0" presId="urn:microsoft.com/office/officeart/2005/8/layout/hList2"/>
    <dgm:cxn modelId="{A36105C6-0A3B-4EEF-A4C6-8B1E8FA93C99}" type="presParOf" srcId="{D8009802-6B03-4DCC-8EAE-DA712688F1C3}" destId="{E7D153D8-8116-4D56-B710-7810337D3BD4}" srcOrd="6" destOrd="0" presId="urn:microsoft.com/office/officeart/2005/8/layout/hList2"/>
    <dgm:cxn modelId="{73753A70-2EE2-412D-9A9D-2EEDAB79DB20}" type="presParOf" srcId="{E7D153D8-8116-4D56-B710-7810337D3BD4}" destId="{9F5FAC44-E2F4-4053-88DD-C71193DF36A3}" srcOrd="0" destOrd="0" presId="urn:microsoft.com/office/officeart/2005/8/layout/hList2"/>
    <dgm:cxn modelId="{705E8880-4AC4-448C-B825-8A214CB2C8D5}" type="presParOf" srcId="{E7D153D8-8116-4D56-B710-7810337D3BD4}" destId="{8EEA1C3A-A861-4726-8EF7-F7A99448C83F}" srcOrd="1" destOrd="0" presId="urn:microsoft.com/office/officeart/2005/8/layout/hList2"/>
    <dgm:cxn modelId="{E3ACD2B9-EEBD-4BE1-9844-CCF2AC363D5E}" type="presParOf" srcId="{E7D153D8-8116-4D56-B710-7810337D3BD4}" destId="{4C4A7791-55F5-46A0-AEA1-9C949E5C9235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97FE0AA-926F-41BC-B738-6DE80FD353F5}" type="doc">
      <dgm:prSet loTypeId="urn:microsoft.com/office/officeart/2005/8/layout/h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GB"/>
        </a:p>
      </dgm:t>
    </dgm:pt>
    <dgm:pt modelId="{7D1A563D-B093-4185-9F11-40D540B6DC71}">
      <dgm:prSet phldrT="[Text]" custT="1"/>
      <dgm:spPr/>
      <dgm:t>
        <a:bodyPr/>
        <a:lstStyle/>
        <a:p>
          <a:pPr>
            <a:buNone/>
          </a:pPr>
          <a:r>
            <a:rPr lang="en-GB" sz="2000" b="1" dirty="0"/>
            <a:t>Objectives</a:t>
          </a:r>
          <a:endParaRPr lang="en-GB" sz="2400" dirty="0"/>
        </a:p>
      </dgm:t>
    </dgm:pt>
    <dgm:pt modelId="{A85C21E1-4B42-4C17-B6BC-6FEC3F0E2F3C}" type="parTrans" cxnId="{E2DE8BD1-371A-41E4-97DF-F8924B4B4859}">
      <dgm:prSet/>
      <dgm:spPr/>
      <dgm:t>
        <a:bodyPr/>
        <a:lstStyle/>
        <a:p>
          <a:endParaRPr lang="en-GB" sz="1600"/>
        </a:p>
      </dgm:t>
    </dgm:pt>
    <dgm:pt modelId="{2B7216C5-F50B-4021-982C-F3348117B51D}" type="sibTrans" cxnId="{E2DE8BD1-371A-41E4-97DF-F8924B4B4859}">
      <dgm:prSet/>
      <dgm:spPr/>
      <dgm:t>
        <a:bodyPr/>
        <a:lstStyle/>
        <a:p>
          <a:endParaRPr lang="en-GB" sz="1600"/>
        </a:p>
      </dgm:t>
    </dgm:pt>
    <dgm:pt modelId="{6E300223-E85A-48A4-826D-9E774714569D}">
      <dgm:prSet phldrT="[Text]" custT="1"/>
      <dgm:spPr/>
      <dgm:t>
        <a:bodyPr/>
        <a:lstStyle/>
        <a:p>
          <a:pPr>
            <a:buNone/>
          </a:pPr>
          <a:r>
            <a:rPr lang="en-GB" sz="2000" b="1" dirty="0"/>
            <a:t>Machine Learning Technique</a:t>
          </a:r>
        </a:p>
      </dgm:t>
    </dgm:pt>
    <dgm:pt modelId="{5049F82E-15CE-4508-9F66-17AA14AA2495}" type="parTrans" cxnId="{67C9C3AD-31AB-4DE7-8927-7B441BB9670A}">
      <dgm:prSet/>
      <dgm:spPr/>
      <dgm:t>
        <a:bodyPr/>
        <a:lstStyle/>
        <a:p>
          <a:endParaRPr lang="en-GB" sz="1600"/>
        </a:p>
      </dgm:t>
    </dgm:pt>
    <dgm:pt modelId="{CFF7558A-9A17-4935-A918-F617DDA93BA0}" type="sibTrans" cxnId="{67C9C3AD-31AB-4DE7-8927-7B441BB9670A}">
      <dgm:prSet/>
      <dgm:spPr/>
      <dgm:t>
        <a:bodyPr/>
        <a:lstStyle/>
        <a:p>
          <a:endParaRPr lang="en-GB" sz="1600"/>
        </a:p>
      </dgm:t>
    </dgm:pt>
    <dgm:pt modelId="{AFE051E1-565A-4AB1-8D7C-BE41BC42BB52}">
      <dgm:prSet phldrT="[Text]" custT="1"/>
      <dgm:spPr/>
      <dgm:t>
        <a:bodyPr/>
        <a:lstStyle/>
        <a:p>
          <a:r>
            <a:rPr lang="en-GB" sz="1800" dirty="0"/>
            <a:t>Time Series Modelling</a:t>
          </a:r>
        </a:p>
      </dgm:t>
    </dgm:pt>
    <dgm:pt modelId="{91F5792C-66E0-4F62-9521-765A366F0CC9}" type="parTrans" cxnId="{53F68587-1AE9-479F-9967-986DA6A5156A}">
      <dgm:prSet/>
      <dgm:spPr/>
      <dgm:t>
        <a:bodyPr/>
        <a:lstStyle/>
        <a:p>
          <a:endParaRPr lang="en-GB" sz="1600"/>
        </a:p>
      </dgm:t>
    </dgm:pt>
    <dgm:pt modelId="{C51D51BD-FE51-49AA-985B-404C86DF3A60}" type="sibTrans" cxnId="{53F68587-1AE9-479F-9967-986DA6A5156A}">
      <dgm:prSet/>
      <dgm:spPr/>
      <dgm:t>
        <a:bodyPr/>
        <a:lstStyle/>
        <a:p>
          <a:endParaRPr lang="en-GB" sz="1600"/>
        </a:p>
      </dgm:t>
    </dgm:pt>
    <dgm:pt modelId="{73E7B6CF-7716-480B-B89C-D4F24C1E6D05}">
      <dgm:prSet phldrT="[Text]" custT="1"/>
      <dgm:spPr/>
      <dgm:t>
        <a:bodyPr/>
        <a:lstStyle/>
        <a:p>
          <a:r>
            <a:rPr lang="en-GB" sz="1800" dirty="0"/>
            <a:t>ARIMA Model</a:t>
          </a:r>
        </a:p>
      </dgm:t>
    </dgm:pt>
    <dgm:pt modelId="{549FD469-2638-4E08-8E08-0C7224134B22}" type="parTrans" cxnId="{62F399DB-F662-45D8-AD45-1DD3CFDFC27D}">
      <dgm:prSet/>
      <dgm:spPr/>
      <dgm:t>
        <a:bodyPr/>
        <a:lstStyle/>
        <a:p>
          <a:endParaRPr lang="en-GB" sz="1600"/>
        </a:p>
      </dgm:t>
    </dgm:pt>
    <dgm:pt modelId="{34A8603C-17A1-42A0-A39E-32550F74DB52}" type="sibTrans" cxnId="{62F399DB-F662-45D8-AD45-1DD3CFDFC27D}">
      <dgm:prSet/>
      <dgm:spPr/>
      <dgm:t>
        <a:bodyPr/>
        <a:lstStyle/>
        <a:p>
          <a:endParaRPr lang="en-GB" sz="1600"/>
        </a:p>
      </dgm:t>
    </dgm:pt>
    <dgm:pt modelId="{92229FDB-E05C-4C83-A7A6-E7EC082D1F4E}">
      <dgm:prSet phldrT="[Text]" custT="1"/>
      <dgm:spPr/>
      <dgm:t>
        <a:bodyPr/>
        <a:lstStyle/>
        <a:p>
          <a:pPr>
            <a:buNone/>
          </a:pPr>
          <a:r>
            <a:rPr lang="en-GB" sz="2000" b="1" dirty="0"/>
            <a:t>Data Pre Processing</a:t>
          </a:r>
        </a:p>
      </dgm:t>
    </dgm:pt>
    <dgm:pt modelId="{CC95E3F1-80E8-4063-B048-31E7C401D120}" type="parTrans" cxnId="{1FD41921-6A57-4EA6-81F3-615CD689F184}">
      <dgm:prSet/>
      <dgm:spPr/>
      <dgm:t>
        <a:bodyPr/>
        <a:lstStyle/>
        <a:p>
          <a:endParaRPr lang="en-GB" sz="1600"/>
        </a:p>
      </dgm:t>
    </dgm:pt>
    <dgm:pt modelId="{13D19025-843D-410E-AB69-A9C66F47074E}" type="sibTrans" cxnId="{1FD41921-6A57-4EA6-81F3-615CD689F184}">
      <dgm:prSet/>
      <dgm:spPr/>
      <dgm:t>
        <a:bodyPr/>
        <a:lstStyle/>
        <a:p>
          <a:endParaRPr lang="en-GB" sz="1600"/>
        </a:p>
      </dgm:t>
    </dgm:pt>
    <dgm:pt modelId="{3D0E2B25-4F80-4C99-AAB2-909A08B4EEA0}">
      <dgm:prSet phldrT="[Text]" custT="1"/>
      <dgm:spPr/>
      <dgm:t>
        <a:bodyPr/>
        <a:lstStyle/>
        <a:p>
          <a:r>
            <a:rPr lang="en-GB" sz="1800" dirty="0"/>
            <a:t>‘Clean’ slugging interval lasting at least 240 minutes </a:t>
          </a:r>
        </a:p>
      </dgm:t>
    </dgm:pt>
    <dgm:pt modelId="{5834735F-E7E5-417F-BB8A-F7D7E8224117}" type="parTrans" cxnId="{D5DE82D0-6ABD-4558-A9A9-195B720FF177}">
      <dgm:prSet/>
      <dgm:spPr/>
      <dgm:t>
        <a:bodyPr/>
        <a:lstStyle/>
        <a:p>
          <a:endParaRPr lang="en-GB" sz="1600"/>
        </a:p>
      </dgm:t>
    </dgm:pt>
    <dgm:pt modelId="{19671FDB-81E3-45D0-A740-E086BDF82B69}" type="sibTrans" cxnId="{D5DE82D0-6ABD-4558-A9A9-195B720FF177}">
      <dgm:prSet/>
      <dgm:spPr/>
      <dgm:t>
        <a:bodyPr/>
        <a:lstStyle/>
        <a:p>
          <a:endParaRPr lang="en-GB" sz="1600"/>
        </a:p>
      </dgm:t>
    </dgm:pt>
    <dgm:pt modelId="{ED845A55-FC9C-410F-91D3-961BFF26887A}">
      <dgm:prSet phldrT="[Text]" custT="1"/>
      <dgm:spPr/>
      <dgm:t>
        <a:bodyPr/>
        <a:lstStyle/>
        <a:p>
          <a:r>
            <a:rPr lang="en-GB" sz="1800" dirty="0"/>
            <a:t>Train model and forecast slug flow</a:t>
          </a:r>
        </a:p>
      </dgm:t>
    </dgm:pt>
    <dgm:pt modelId="{C9A486BE-D472-40BA-81CA-7C480FB28049}" type="parTrans" cxnId="{E06EFF15-7FC9-4FA5-A2B4-6D63345CAC75}">
      <dgm:prSet/>
      <dgm:spPr/>
      <dgm:t>
        <a:bodyPr/>
        <a:lstStyle/>
        <a:p>
          <a:endParaRPr lang="en-GB" sz="1600"/>
        </a:p>
      </dgm:t>
    </dgm:pt>
    <dgm:pt modelId="{50883CCD-61F6-4524-A80E-F6501ED5FA14}" type="sibTrans" cxnId="{E06EFF15-7FC9-4FA5-A2B4-6D63345CAC75}">
      <dgm:prSet/>
      <dgm:spPr/>
      <dgm:t>
        <a:bodyPr/>
        <a:lstStyle/>
        <a:p>
          <a:endParaRPr lang="en-GB" sz="1600"/>
        </a:p>
      </dgm:t>
    </dgm:pt>
    <dgm:pt modelId="{26B53439-EC7B-4AF3-B41B-B037C7F8ADE7}" type="pres">
      <dgm:prSet presAssocID="{197FE0AA-926F-41BC-B738-6DE80FD353F5}" presName="linearFlow" presStyleCnt="0">
        <dgm:presLayoutVars>
          <dgm:dir/>
          <dgm:animLvl val="lvl"/>
          <dgm:resizeHandles/>
        </dgm:presLayoutVars>
      </dgm:prSet>
      <dgm:spPr/>
    </dgm:pt>
    <dgm:pt modelId="{54ADB579-02B1-4D1A-9C39-797FEB2C8941}" type="pres">
      <dgm:prSet presAssocID="{7D1A563D-B093-4185-9F11-40D540B6DC71}" presName="compositeNode" presStyleCnt="0">
        <dgm:presLayoutVars>
          <dgm:bulletEnabled val="1"/>
        </dgm:presLayoutVars>
      </dgm:prSet>
      <dgm:spPr/>
    </dgm:pt>
    <dgm:pt modelId="{716C6717-8ECA-4719-AFEC-02AD98B4EBC2}" type="pres">
      <dgm:prSet presAssocID="{7D1A563D-B093-4185-9F11-40D540B6DC71}" presName="image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ullseye"/>
        </a:ext>
      </dgm:extLst>
    </dgm:pt>
    <dgm:pt modelId="{F27FC12C-00F1-4B58-918B-40B1AF692EFB}" type="pres">
      <dgm:prSet presAssocID="{7D1A563D-B093-4185-9F11-40D540B6DC71}" presName="childNode" presStyleLbl="node1" presStyleIdx="0" presStyleCnt="3">
        <dgm:presLayoutVars>
          <dgm:bulletEnabled val="1"/>
        </dgm:presLayoutVars>
      </dgm:prSet>
      <dgm:spPr/>
    </dgm:pt>
    <dgm:pt modelId="{2E05F3CE-6AB4-497C-8918-950F38C8A4C3}" type="pres">
      <dgm:prSet presAssocID="{7D1A563D-B093-4185-9F11-40D540B6DC71}" presName="parentNode" presStyleLbl="revTx" presStyleIdx="0" presStyleCnt="3">
        <dgm:presLayoutVars>
          <dgm:chMax val="0"/>
          <dgm:bulletEnabled val="1"/>
        </dgm:presLayoutVars>
      </dgm:prSet>
      <dgm:spPr/>
    </dgm:pt>
    <dgm:pt modelId="{AD46788A-9F8C-4C4C-A74F-CEC651995DCE}" type="pres">
      <dgm:prSet presAssocID="{2B7216C5-F50B-4021-982C-F3348117B51D}" presName="sibTrans" presStyleCnt="0"/>
      <dgm:spPr/>
    </dgm:pt>
    <dgm:pt modelId="{4DD50E02-6FA3-415D-80F5-1D04CFA8BC79}" type="pres">
      <dgm:prSet presAssocID="{6E300223-E85A-48A4-826D-9E774714569D}" presName="compositeNode" presStyleCnt="0">
        <dgm:presLayoutVars>
          <dgm:bulletEnabled val="1"/>
        </dgm:presLayoutVars>
      </dgm:prSet>
      <dgm:spPr/>
    </dgm:pt>
    <dgm:pt modelId="{82706DE2-8FA7-447E-B5C1-A20D147E00FF}" type="pres">
      <dgm:prSet presAssocID="{6E300223-E85A-48A4-826D-9E774714569D}" presName="image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EA5B8339-24B1-4F6B-AC59-E442662A2104}" type="pres">
      <dgm:prSet presAssocID="{6E300223-E85A-48A4-826D-9E774714569D}" presName="childNode" presStyleLbl="node1" presStyleIdx="1" presStyleCnt="3">
        <dgm:presLayoutVars>
          <dgm:bulletEnabled val="1"/>
        </dgm:presLayoutVars>
      </dgm:prSet>
      <dgm:spPr/>
    </dgm:pt>
    <dgm:pt modelId="{BC64EAAC-3142-4ABB-924B-BA64627AF45A}" type="pres">
      <dgm:prSet presAssocID="{6E300223-E85A-48A4-826D-9E774714569D}" presName="parentNode" presStyleLbl="revTx" presStyleIdx="1" presStyleCnt="3">
        <dgm:presLayoutVars>
          <dgm:chMax val="0"/>
          <dgm:bulletEnabled val="1"/>
        </dgm:presLayoutVars>
      </dgm:prSet>
      <dgm:spPr/>
    </dgm:pt>
    <dgm:pt modelId="{C2F43485-6F1E-42E1-949A-19C586A2A679}" type="pres">
      <dgm:prSet presAssocID="{CFF7558A-9A17-4935-A918-F617DDA93BA0}" presName="sibTrans" presStyleCnt="0"/>
      <dgm:spPr/>
    </dgm:pt>
    <dgm:pt modelId="{8B46FA13-F3D5-4EED-8337-5522BA40AAF8}" type="pres">
      <dgm:prSet presAssocID="{92229FDB-E05C-4C83-A7A6-E7EC082D1F4E}" presName="compositeNode" presStyleCnt="0">
        <dgm:presLayoutVars>
          <dgm:bulletEnabled val="1"/>
        </dgm:presLayoutVars>
      </dgm:prSet>
      <dgm:spPr/>
    </dgm:pt>
    <dgm:pt modelId="{E8DB7FE8-CFCF-4192-8298-8FD43546CB48}" type="pres">
      <dgm:prSet presAssocID="{92229FDB-E05C-4C83-A7A6-E7EC082D1F4E}" presName="image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E00643AB-14DB-42BF-A4EB-4BC0714A6D42}" type="pres">
      <dgm:prSet presAssocID="{92229FDB-E05C-4C83-A7A6-E7EC082D1F4E}" presName="childNode" presStyleLbl="node1" presStyleIdx="2" presStyleCnt="3">
        <dgm:presLayoutVars>
          <dgm:bulletEnabled val="1"/>
        </dgm:presLayoutVars>
      </dgm:prSet>
      <dgm:spPr/>
    </dgm:pt>
    <dgm:pt modelId="{83ED09DF-E8EE-4FB3-BC6E-B71A8ADABBA9}" type="pres">
      <dgm:prSet presAssocID="{92229FDB-E05C-4C83-A7A6-E7EC082D1F4E}" presName="parentNode" presStyleLbl="revTx" presStyleIdx="2" presStyleCnt="3">
        <dgm:presLayoutVars>
          <dgm:chMax val="0"/>
          <dgm:bulletEnabled val="1"/>
        </dgm:presLayoutVars>
      </dgm:prSet>
      <dgm:spPr/>
    </dgm:pt>
  </dgm:ptLst>
  <dgm:cxnLst>
    <dgm:cxn modelId="{E06EFF15-7FC9-4FA5-A2B4-6D63345CAC75}" srcId="{7D1A563D-B093-4185-9F11-40D540B6DC71}" destId="{ED845A55-FC9C-410F-91D3-961BFF26887A}" srcOrd="0" destOrd="0" parTransId="{C9A486BE-D472-40BA-81CA-7C480FB28049}" sibTransId="{50883CCD-61F6-4524-A80E-F6501ED5FA14}"/>
    <dgm:cxn modelId="{1FD41921-6A57-4EA6-81F3-615CD689F184}" srcId="{197FE0AA-926F-41BC-B738-6DE80FD353F5}" destId="{92229FDB-E05C-4C83-A7A6-E7EC082D1F4E}" srcOrd="2" destOrd="0" parTransId="{CC95E3F1-80E8-4063-B048-31E7C401D120}" sibTransId="{13D19025-843D-410E-AB69-A9C66F47074E}"/>
    <dgm:cxn modelId="{8F3CC32B-61FF-4758-A93A-3BE3FC8FFE59}" type="presOf" srcId="{ED845A55-FC9C-410F-91D3-961BFF26887A}" destId="{F27FC12C-00F1-4B58-918B-40B1AF692EFB}" srcOrd="0" destOrd="0" presId="urn:microsoft.com/office/officeart/2005/8/layout/hList2"/>
    <dgm:cxn modelId="{40B59543-4123-4958-9D96-3DBEA38AC375}" type="presOf" srcId="{73E7B6CF-7716-480B-B89C-D4F24C1E6D05}" destId="{EA5B8339-24B1-4F6B-AC59-E442662A2104}" srcOrd="0" destOrd="1" presId="urn:microsoft.com/office/officeart/2005/8/layout/hList2"/>
    <dgm:cxn modelId="{B9134C71-22B0-4801-AEA7-1C20F5D9D6AD}" type="presOf" srcId="{7D1A563D-B093-4185-9F11-40D540B6DC71}" destId="{2E05F3CE-6AB4-497C-8918-950F38C8A4C3}" srcOrd="0" destOrd="0" presId="urn:microsoft.com/office/officeart/2005/8/layout/hList2"/>
    <dgm:cxn modelId="{53F68587-1AE9-479F-9967-986DA6A5156A}" srcId="{6E300223-E85A-48A4-826D-9E774714569D}" destId="{AFE051E1-565A-4AB1-8D7C-BE41BC42BB52}" srcOrd="0" destOrd="0" parTransId="{91F5792C-66E0-4F62-9521-765A366F0CC9}" sibTransId="{C51D51BD-FE51-49AA-985B-404C86DF3A60}"/>
    <dgm:cxn modelId="{68741FA0-9620-4E99-8EEF-1DDD6EB25565}" type="presOf" srcId="{92229FDB-E05C-4C83-A7A6-E7EC082D1F4E}" destId="{83ED09DF-E8EE-4FB3-BC6E-B71A8ADABBA9}" srcOrd="0" destOrd="0" presId="urn:microsoft.com/office/officeart/2005/8/layout/hList2"/>
    <dgm:cxn modelId="{89247BA7-3E3A-4A06-A05A-EB64C757BDBE}" type="presOf" srcId="{AFE051E1-565A-4AB1-8D7C-BE41BC42BB52}" destId="{EA5B8339-24B1-4F6B-AC59-E442662A2104}" srcOrd="0" destOrd="0" presId="urn:microsoft.com/office/officeart/2005/8/layout/hList2"/>
    <dgm:cxn modelId="{67C9C3AD-31AB-4DE7-8927-7B441BB9670A}" srcId="{197FE0AA-926F-41BC-B738-6DE80FD353F5}" destId="{6E300223-E85A-48A4-826D-9E774714569D}" srcOrd="1" destOrd="0" parTransId="{5049F82E-15CE-4508-9F66-17AA14AA2495}" sibTransId="{CFF7558A-9A17-4935-A918-F617DDA93BA0}"/>
    <dgm:cxn modelId="{D5DE82D0-6ABD-4558-A9A9-195B720FF177}" srcId="{92229FDB-E05C-4C83-A7A6-E7EC082D1F4E}" destId="{3D0E2B25-4F80-4C99-AAB2-909A08B4EEA0}" srcOrd="0" destOrd="0" parTransId="{5834735F-E7E5-417F-BB8A-F7D7E8224117}" sibTransId="{19671FDB-81E3-45D0-A740-E086BDF82B69}"/>
    <dgm:cxn modelId="{E2DE8BD1-371A-41E4-97DF-F8924B4B4859}" srcId="{197FE0AA-926F-41BC-B738-6DE80FD353F5}" destId="{7D1A563D-B093-4185-9F11-40D540B6DC71}" srcOrd="0" destOrd="0" parTransId="{A85C21E1-4B42-4C17-B6BC-6FEC3F0E2F3C}" sibTransId="{2B7216C5-F50B-4021-982C-F3348117B51D}"/>
    <dgm:cxn modelId="{E5C9DCD2-6BB4-4244-B521-0C91FA81E41E}" type="presOf" srcId="{197FE0AA-926F-41BC-B738-6DE80FD353F5}" destId="{26B53439-EC7B-4AF3-B41B-B037C7F8ADE7}" srcOrd="0" destOrd="0" presId="urn:microsoft.com/office/officeart/2005/8/layout/hList2"/>
    <dgm:cxn modelId="{62F399DB-F662-45D8-AD45-1DD3CFDFC27D}" srcId="{6E300223-E85A-48A4-826D-9E774714569D}" destId="{73E7B6CF-7716-480B-B89C-D4F24C1E6D05}" srcOrd="1" destOrd="0" parTransId="{549FD469-2638-4E08-8E08-0C7224134B22}" sibTransId="{34A8603C-17A1-42A0-A39E-32550F74DB52}"/>
    <dgm:cxn modelId="{9348EAF1-C3ED-491F-A8BC-7EA555EEC661}" type="presOf" srcId="{3D0E2B25-4F80-4C99-AAB2-909A08B4EEA0}" destId="{E00643AB-14DB-42BF-A4EB-4BC0714A6D42}" srcOrd="0" destOrd="0" presId="urn:microsoft.com/office/officeart/2005/8/layout/hList2"/>
    <dgm:cxn modelId="{8E0AC8FF-B162-4A15-8875-B622509C174A}" type="presOf" srcId="{6E300223-E85A-48A4-826D-9E774714569D}" destId="{BC64EAAC-3142-4ABB-924B-BA64627AF45A}" srcOrd="0" destOrd="0" presId="urn:microsoft.com/office/officeart/2005/8/layout/hList2"/>
    <dgm:cxn modelId="{09E5B50D-0C14-4FE5-8623-99A5956223EB}" type="presParOf" srcId="{26B53439-EC7B-4AF3-B41B-B037C7F8ADE7}" destId="{54ADB579-02B1-4D1A-9C39-797FEB2C8941}" srcOrd="0" destOrd="0" presId="urn:microsoft.com/office/officeart/2005/8/layout/hList2"/>
    <dgm:cxn modelId="{00BD79E4-160C-42B3-9B89-8138788C16A9}" type="presParOf" srcId="{54ADB579-02B1-4D1A-9C39-797FEB2C8941}" destId="{716C6717-8ECA-4719-AFEC-02AD98B4EBC2}" srcOrd="0" destOrd="0" presId="urn:microsoft.com/office/officeart/2005/8/layout/hList2"/>
    <dgm:cxn modelId="{E89836B8-7F2A-4FDB-BA1C-AD595182B861}" type="presParOf" srcId="{54ADB579-02B1-4D1A-9C39-797FEB2C8941}" destId="{F27FC12C-00F1-4B58-918B-40B1AF692EFB}" srcOrd="1" destOrd="0" presId="urn:microsoft.com/office/officeart/2005/8/layout/hList2"/>
    <dgm:cxn modelId="{7544C22D-F678-4A26-9940-698F0FA6C5C6}" type="presParOf" srcId="{54ADB579-02B1-4D1A-9C39-797FEB2C8941}" destId="{2E05F3CE-6AB4-497C-8918-950F38C8A4C3}" srcOrd="2" destOrd="0" presId="urn:microsoft.com/office/officeart/2005/8/layout/hList2"/>
    <dgm:cxn modelId="{8C9EA53B-98A1-4D45-80EE-874AFE351DBC}" type="presParOf" srcId="{26B53439-EC7B-4AF3-B41B-B037C7F8ADE7}" destId="{AD46788A-9F8C-4C4C-A74F-CEC651995DCE}" srcOrd="1" destOrd="0" presId="urn:microsoft.com/office/officeart/2005/8/layout/hList2"/>
    <dgm:cxn modelId="{3D61A767-54B9-4CD4-9087-48394EE0EAB0}" type="presParOf" srcId="{26B53439-EC7B-4AF3-B41B-B037C7F8ADE7}" destId="{4DD50E02-6FA3-415D-80F5-1D04CFA8BC79}" srcOrd="2" destOrd="0" presId="urn:microsoft.com/office/officeart/2005/8/layout/hList2"/>
    <dgm:cxn modelId="{03AA59F4-7265-409D-98A0-82C5A252EDFB}" type="presParOf" srcId="{4DD50E02-6FA3-415D-80F5-1D04CFA8BC79}" destId="{82706DE2-8FA7-447E-B5C1-A20D147E00FF}" srcOrd="0" destOrd="0" presId="urn:microsoft.com/office/officeart/2005/8/layout/hList2"/>
    <dgm:cxn modelId="{94F0639D-855E-4B91-B4C3-B5F3A4066AE5}" type="presParOf" srcId="{4DD50E02-6FA3-415D-80F5-1D04CFA8BC79}" destId="{EA5B8339-24B1-4F6B-AC59-E442662A2104}" srcOrd="1" destOrd="0" presId="urn:microsoft.com/office/officeart/2005/8/layout/hList2"/>
    <dgm:cxn modelId="{34F1C1DE-0316-4F79-A46B-96DE1103BC1C}" type="presParOf" srcId="{4DD50E02-6FA3-415D-80F5-1D04CFA8BC79}" destId="{BC64EAAC-3142-4ABB-924B-BA64627AF45A}" srcOrd="2" destOrd="0" presId="urn:microsoft.com/office/officeart/2005/8/layout/hList2"/>
    <dgm:cxn modelId="{F46F092B-93E7-44B4-8DD8-0F7B36113DAB}" type="presParOf" srcId="{26B53439-EC7B-4AF3-B41B-B037C7F8ADE7}" destId="{C2F43485-6F1E-42E1-949A-19C586A2A679}" srcOrd="3" destOrd="0" presId="urn:microsoft.com/office/officeart/2005/8/layout/hList2"/>
    <dgm:cxn modelId="{86E9794D-94BC-42E2-814F-6F546F02836D}" type="presParOf" srcId="{26B53439-EC7B-4AF3-B41B-B037C7F8ADE7}" destId="{8B46FA13-F3D5-4EED-8337-5522BA40AAF8}" srcOrd="4" destOrd="0" presId="urn:microsoft.com/office/officeart/2005/8/layout/hList2"/>
    <dgm:cxn modelId="{2521862D-19F3-46A7-90CA-04BCBC843B63}" type="presParOf" srcId="{8B46FA13-F3D5-4EED-8337-5522BA40AAF8}" destId="{E8DB7FE8-CFCF-4192-8298-8FD43546CB48}" srcOrd="0" destOrd="0" presId="urn:microsoft.com/office/officeart/2005/8/layout/hList2"/>
    <dgm:cxn modelId="{339AD1E3-236C-4B4B-A9D1-F8F3A6D3A1A5}" type="presParOf" srcId="{8B46FA13-F3D5-4EED-8337-5522BA40AAF8}" destId="{E00643AB-14DB-42BF-A4EB-4BC0714A6D42}" srcOrd="1" destOrd="0" presId="urn:microsoft.com/office/officeart/2005/8/layout/hList2"/>
    <dgm:cxn modelId="{566598E8-C6F8-4119-BFB8-C39647EA4C4B}" type="presParOf" srcId="{8B46FA13-F3D5-4EED-8337-5522BA40AAF8}" destId="{83ED09DF-E8EE-4FB3-BC6E-B71A8ADABBA9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F895D-8DB2-4D61-9FC1-784A2EAFA481}">
      <dsp:nvSpPr>
        <dsp:cNvPr id="0" name=""/>
        <dsp:cNvSpPr/>
      </dsp:nvSpPr>
      <dsp:spPr>
        <a:xfrm>
          <a:off x="2217539" y="2820808"/>
          <a:ext cx="1660921" cy="1660921"/>
        </a:xfrm>
        <a:prstGeom prst="ellipse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slugdetection</a:t>
          </a:r>
        </a:p>
      </dsp:txBody>
      <dsp:txXfrm>
        <a:off x="2460775" y="3064044"/>
        <a:ext cx="1174449" cy="1174449"/>
      </dsp:txXfrm>
    </dsp:sp>
    <dsp:sp modelId="{12B4B3F3-754E-4260-9342-CB9156D19B40}">
      <dsp:nvSpPr>
        <dsp:cNvPr id="0" name=""/>
        <dsp:cNvSpPr/>
      </dsp:nvSpPr>
      <dsp:spPr>
        <a:xfrm rot="16200000">
          <a:off x="2871321" y="2215095"/>
          <a:ext cx="353357" cy="5647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kern="1200"/>
        </a:p>
      </dsp:txBody>
      <dsp:txXfrm>
        <a:off x="2924325" y="2381042"/>
        <a:ext cx="247350" cy="338827"/>
      </dsp:txXfrm>
    </dsp:sp>
    <dsp:sp modelId="{0BA2A60A-2083-4114-8050-59651AA0322F}">
      <dsp:nvSpPr>
        <dsp:cNvPr id="0" name=""/>
        <dsp:cNvSpPr/>
      </dsp:nvSpPr>
      <dsp:spPr>
        <a:xfrm>
          <a:off x="2217539" y="493173"/>
          <a:ext cx="1660921" cy="1660921"/>
        </a:xfrm>
        <a:prstGeom prst="ellipse">
          <a:avLst/>
        </a:prstGeom>
        <a:solidFill>
          <a:schemeClr val="accent1">
            <a:lumMod val="90000"/>
            <a:lumOff val="1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Data Engineering</a:t>
          </a:r>
        </a:p>
      </dsp:txBody>
      <dsp:txXfrm>
        <a:off x="2460775" y="736409"/>
        <a:ext cx="1174449" cy="1174449"/>
      </dsp:txXfrm>
    </dsp:sp>
    <dsp:sp modelId="{85DD40F4-393B-4BFF-8C6B-D8657CAE0496}">
      <dsp:nvSpPr>
        <dsp:cNvPr id="0" name=""/>
        <dsp:cNvSpPr/>
      </dsp:nvSpPr>
      <dsp:spPr>
        <a:xfrm rot="20520000">
          <a:off x="3968666" y="3012363"/>
          <a:ext cx="353357" cy="5647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kern="1200"/>
        </a:p>
      </dsp:txBody>
      <dsp:txXfrm>
        <a:off x="3971260" y="3141685"/>
        <a:ext cx="247350" cy="338827"/>
      </dsp:txXfrm>
    </dsp:sp>
    <dsp:sp modelId="{4494EE90-2CFB-4FB1-A0BA-36E57DE3FE34}">
      <dsp:nvSpPr>
        <dsp:cNvPr id="0" name=""/>
        <dsp:cNvSpPr/>
      </dsp:nvSpPr>
      <dsp:spPr>
        <a:xfrm>
          <a:off x="4431251" y="2101529"/>
          <a:ext cx="1660921" cy="166092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Slug Labelling</a:t>
          </a:r>
        </a:p>
      </dsp:txBody>
      <dsp:txXfrm>
        <a:off x="4674487" y="2344765"/>
        <a:ext cx="1174449" cy="1174449"/>
      </dsp:txXfrm>
    </dsp:sp>
    <dsp:sp modelId="{6B08BE6E-5ED3-46B7-ACA7-36F09BFED785}">
      <dsp:nvSpPr>
        <dsp:cNvPr id="0" name=""/>
        <dsp:cNvSpPr/>
      </dsp:nvSpPr>
      <dsp:spPr>
        <a:xfrm rot="3240000">
          <a:off x="3549517" y="4302370"/>
          <a:ext cx="353357" cy="5647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kern="1200"/>
        </a:p>
      </dsp:txBody>
      <dsp:txXfrm>
        <a:off x="3571366" y="4372432"/>
        <a:ext cx="247350" cy="338827"/>
      </dsp:txXfrm>
    </dsp:sp>
    <dsp:sp modelId="{43B994A7-3F6D-46CB-A2BF-47BF50DFCF32}">
      <dsp:nvSpPr>
        <dsp:cNvPr id="0" name=""/>
        <dsp:cNvSpPr/>
      </dsp:nvSpPr>
      <dsp:spPr>
        <a:xfrm>
          <a:off x="3585688" y="4703904"/>
          <a:ext cx="1660921" cy="166092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Flow Recognition</a:t>
          </a:r>
        </a:p>
      </dsp:txBody>
      <dsp:txXfrm>
        <a:off x="3828924" y="4947140"/>
        <a:ext cx="1174449" cy="1174449"/>
      </dsp:txXfrm>
    </dsp:sp>
    <dsp:sp modelId="{99690DC1-9471-418E-A968-03303C581A07}">
      <dsp:nvSpPr>
        <dsp:cNvPr id="0" name=""/>
        <dsp:cNvSpPr/>
      </dsp:nvSpPr>
      <dsp:spPr>
        <a:xfrm rot="7560000">
          <a:off x="2193124" y="4302370"/>
          <a:ext cx="353357" cy="5647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kern="1200"/>
        </a:p>
      </dsp:txBody>
      <dsp:txXfrm rot="10800000">
        <a:off x="2277282" y="4372432"/>
        <a:ext cx="247350" cy="338827"/>
      </dsp:txXfrm>
    </dsp:sp>
    <dsp:sp modelId="{2829C871-D7C0-46B0-B252-8CDBA7FFF94A}">
      <dsp:nvSpPr>
        <dsp:cNvPr id="0" name=""/>
        <dsp:cNvSpPr/>
      </dsp:nvSpPr>
      <dsp:spPr>
        <a:xfrm>
          <a:off x="849389" y="4703904"/>
          <a:ext cx="1660921" cy="166092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Slug Detection</a:t>
          </a:r>
        </a:p>
      </dsp:txBody>
      <dsp:txXfrm>
        <a:off x="1092625" y="4947140"/>
        <a:ext cx="1174449" cy="1174449"/>
      </dsp:txXfrm>
    </dsp:sp>
    <dsp:sp modelId="{8B17D0B5-9218-43B3-818D-4F807CE80CC4}">
      <dsp:nvSpPr>
        <dsp:cNvPr id="0" name=""/>
        <dsp:cNvSpPr/>
      </dsp:nvSpPr>
      <dsp:spPr>
        <a:xfrm rot="11880000">
          <a:off x="1773975" y="3012363"/>
          <a:ext cx="353357" cy="5647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kern="1200"/>
        </a:p>
      </dsp:txBody>
      <dsp:txXfrm rot="10800000">
        <a:off x="1877388" y="3141685"/>
        <a:ext cx="247350" cy="338827"/>
      </dsp:txXfrm>
    </dsp:sp>
    <dsp:sp modelId="{B825666B-0F70-44C7-B3A5-B67865A391FA}">
      <dsp:nvSpPr>
        <dsp:cNvPr id="0" name=""/>
        <dsp:cNvSpPr/>
      </dsp:nvSpPr>
      <dsp:spPr>
        <a:xfrm>
          <a:off x="3826" y="2101529"/>
          <a:ext cx="1660921" cy="166092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Slug Forecasting</a:t>
          </a:r>
        </a:p>
      </dsp:txBody>
      <dsp:txXfrm>
        <a:off x="247062" y="2344765"/>
        <a:ext cx="1174449" cy="1174449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F895D-8DB2-4D61-9FC1-784A2EAFA481}">
      <dsp:nvSpPr>
        <dsp:cNvPr id="0" name=""/>
        <dsp:cNvSpPr/>
      </dsp:nvSpPr>
      <dsp:spPr>
        <a:xfrm>
          <a:off x="1905341" y="1370954"/>
          <a:ext cx="977217" cy="977217"/>
        </a:xfrm>
        <a:prstGeom prst="ellipse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/>
            <a:t>slugdetection</a:t>
          </a:r>
        </a:p>
      </dsp:txBody>
      <dsp:txXfrm>
        <a:off x="2048451" y="1514064"/>
        <a:ext cx="690997" cy="690997"/>
      </dsp:txXfrm>
    </dsp:sp>
    <dsp:sp modelId="{12B4B3F3-754E-4260-9342-CB9156D19B40}">
      <dsp:nvSpPr>
        <dsp:cNvPr id="0" name=""/>
        <dsp:cNvSpPr/>
      </dsp:nvSpPr>
      <dsp:spPr>
        <a:xfrm rot="16200000">
          <a:off x="2289994" y="1014569"/>
          <a:ext cx="207910" cy="3322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>
        <a:off x="2321181" y="1112207"/>
        <a:ext cx="145537" cy="199352"/>
      </dsp:txXfrm>
    </dsp:sp>
    <dsp:sp modelId="{0BA2A60A-2083-4114-8050-59651AA0322F}">
      <dsp:nvSpPr>
        <dsp:cNvPr id="0" name=""/>
        <dsp:cNvSpPr/>
      </dsp:nvSpPr>
      <dsp:spPr>
        <a:xfrm>
          <a:off x="1905341" y="1452"/>
          <a:ext cx="977217" cy="9772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Data Engineering</a:t>
          </a:r>
        </a:p>
      </dsp:txBody>
      <dsp:txXfrm>
        <a:off x="2048451" y="144562"/>
        <a:ext cx="690997" cy="690997"/>
      </dsp:txXfrm>
    </dsp:sp>
    <dsp:sp modelId="{85DD40F4-393B-4BFF-8C6B-D8657CAE0496}">
      <dsp:nvSpPr>
        <dsp:cNvPr id="0" name=""/>
        <dsp:cNvSpPr/>
      </dsp:nvSpPr>
      <dsp:spPr>
        <a:xfrm rot="20520000">
          <a:off x="2935637" y="1436029"/>
          <a:ext cx="207910" cy="3322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>
        <a:off x="2937163" y="1512117"/>
        <a:ext cx="145537" cy="199352"/>
      </dsp:txXfrm>
    </dsp:sp>
    <dsp:sp modelId="{4494EE90-2CFB-4FB1-A0BA-36E57DE3FE34}">
      <dsp:nvSpPr>
        <dsp:cNvPr id="0" name=""/>
        <dsp:cNvSpPr/>
      </dsp:nvSpPr>
      <dsp:spPr>
        <a:xfrm>
          <a:off x="3207815" y="947754"/>
          <a:ext cx="977217" cy="9772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Slug Labelling</a:t>
          </a:r>
        </a:p>
      </dsp:txBody>
      <dsp:txXfrm>
        <a:off x="3350925" y="1090864"/>
        <a:ext cx="690997" cy="690997"/>
      </dsp:txXfrm>
    </dsp:sp>
    <dsp:sp modelId="{6B08BE6E-5ED3-46B7-ACA7-36F09BFED785}">
      <dsp:nvSpPr>
        <dsp:cNvPr id="0" name=""/>
        <dsp:cNvSpPr/>
      </dsp:nvSpPr>
      <dsp:spPr>
        <a:xfrm rot="3240000">
          <a:off x="2689022" y="2242651"/>
          <a:ext cx="207910" cy="3322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>
        <a:off x="2701878" y="2283872"/>
        <a:ext cx="145537" cy="199352"/>
      </dsp:txXfrm>
    </dsp:sp>
    <dsp:sp modelId="{43B994A7-3F6D-46CB-A2BF-47BF50DFCF32}">
      <dsp:nvSpPr>
        <dsp:cNvPr id="0" name=""/>
        <dsp:cNvSpPr/>
      </dsp:nvSpPr>
      <dsp:spPr>
        <a:xfrm>
          <a:off x="2710314" y="2478905"/>
          <a:ext cx="977217" cy="9772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Flow Recognition</a:t>
          </a:r>
        </a:p>
      </dsp:txBody>
      <dsp:txXfrm>
        <a:off x="2853424" y="2622015"/>
        <a:ext cx="690997" cy="690997"/>
      </dsp:txXfrm>
    </dsp:sp>
    <dsp:sp modelId="{99690DC1-9471-418E-A968-03303C581A07}">
      <dsp:nvSpPr>
        <dsp:cNvPr id="0" name=""/>
        <dsp:cNvSpPr/>
      </dsp:nvSpPr>
      <dsp:spPr>
        <a:xfrm rot="7560000">
          <a:off x="1890966" y="2242651"/>
          <a:ext cx="207910" cy="3322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 rot="10800000">
        <a:off x="1940483" y="2283872"/>
        <a:ext cx="145537" cy="199352"/>
      </dsp:txXfrm>
    </dsp:sp>
    <dsp:sp modelId="{2829C871-D7C0-46B0-B252-8CDBA7FFF94A}">
      <dsp:nvSpPr>
        <dsp:cNvPr id="0" name=""/>
        <dsp:cNvSpPr/>
      </dsp:nvSpPr>
      <dsp:spPr>
        <a:xfrm>
          <a:off x="1100367" y="2478905"/>
          <a:ext cx="977217" cy="9772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Slug Detection</a:t>
          </a:r>
        </a:p>
      </dsp:txBody>
      <dsp:txXfrm>
        <a:off x="1243477" y="2622015"/>
        <a:ext cx="690997" cy="690997"/>
      </dsp:txXfrm>
    </dsp:sp>
    <dsp:sp modelId="{8B17D0B5-9218-43B3-818D-4F807CE80CC4}">
      <dsp:nvSpPr>
        <dsp:cNvPr id="0" name=""/>
        <dsp:cNvSpPr/>
      </dsp:nvSpPr>
      <dsp:spPr>
        <a:xfrm rot="11880000">
          <a:off x="1644353" y="1483654"/>
          <a:ext cx="207910" cy="3322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 rot="10800000">
        <a:off x="1705200" y="1559742"/>
        <a:ext cx="145537" cy="199352"/>
      </dsp:txXfrm>
    </dsp:sp>
    <dsp:sp modelId="{B825666B-0F70-44C7-B3A5-B67865A391FA}">
      <dsp:nvSpPr>
        <dsp:cNvPr id="0" name=""/>
        <dsp:cNvSpPr/>
      </dsp:nvSpPr>
      <dsp:spPr>
        <a:xfrm>
          <a:off x="602866" y="947754"/>
          <a:ext cx="977217" cy="9772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Slug Forecasting</a:t>
          </a:r>
        </a:p>
      </dsp:txBody>
      <dsp:txXfrm>
        <a:off x="745976" y="1090864"/>
        <a:ext cx="690997" cy="69099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83EBDF-063A-46BE-912D-5D7B6EE77042}">
      <dsp:nvSpPr>
        <dsp:cNvPr id="0" name=""/>
        <dsp:cNvSpPr/>
      </dsp:nvSpPr>
      <dsp:spPr>
        <a:xfrm>
          <a:off x="9384318" y="890927"/>
          <a:ext cx="2139777" cy="214012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6CEDF6-5AD2-463F-886B-2896003AB67E}">
      <dsp:nvSpPr>
        <dsp:cNvPr id="0" name=""/>
        <dsp:cNvSpPr/>
      </dsp:nvSpPr>
      <dsp:spPr>
        <a:xfrm>
          <a:off x="9454923" y="962277"/>
          <a:ext cx="1997428" cy="1997427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First Slug</a:t>
          </a:r>
        </a:p>
      </dsp:txBody>
      <dsp:txXfrm>
        <a:off x="9740758" y="1247677"/>
        <a:ext cx="1426897" cy="1426626"/>
      </dsp:txXfrm>
    </dsp:sp>
    <dsp:sp modelId="{2A821DDE-161D-41F9-8AA3-3F80E2EA2C2C}">
      <dsp:nvSpPr>
        <dsp:cNvPr id="0" name=""/>
        <dsp:cNvSpPr/>
      </dsp:nvSpPr>
      <dsp:spPr>
        <a:xfrm rot="2700000">
          <a:off x="7171783" y="891038"/>
          <a:ext cx="2139529" cy="2139529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BB51FA-7D50-4AB6-B819-E66E75B19D9E}">
      <dsp:nvSpPr>
        <dsp:cNvPr id="0" name=""/>
        <dsp:cNvSpPr/>
      </dsp:nvSpPr>
      <dsp:spPr>
        <a:xfrm>
          <a:off x="7244541" y="962277"/>
          <a:ext cx="1997428" cy="1997427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Current and next two slug peaks WHP are within 2 </a:t>
          </a:r>
          <a:r>
            <a:rPr lang="en-GB" sz="1600" kern="1200" dirty="0" err="1"/>
            <a:t>BarG</a:t>
          </a:r>
          <a:r>
            <a:rPr lang="en-GB" sz="1600" kern="1200" dirty="0"/>
            <a:t> each of each other</a:t>
          </a:r>
        </a:p>
      </dsp:txBody>
      <dsp:txXfrm>
        <a:off x="7529237" y="1247677"/>
        <a:ext cx="1426897" cy="1426626"/>
      </dsp:txXfrm>
    </dsp:sp>
    <dsp:sp modelId="{CB07CB68-9407-40C0-BB38-CD1AB937D3D3}">
      <dsp:nvSpPr>
        <dsp:cNvPr id="0" name=""/>
        <dsp:cNvSpPr/>
      </dsp:nvSpPr>
      <dsp:spPr>
        <a:xfrm rot="2700000">
          <a:off x="4961401" y="891038"/>
          <a:ext cx="2139529" cy="2139529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68FE9A-C76E-45B5-8380-111C0E4CDD60}">
      <dsp:nvSpPr>
        <dsp:cNvPr id="0" name=""/>
        <dsp:cNvSpPr/>
      </dsp:nvSpPr>
      <dsp:spPr>
        <a:xfrm>
          <a:off x="5033021" y="962277"/>
          <a:ext cx="1997428" cy="1997427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Current and next two slug peaks are within 20 minutes each of each other</a:t>
          </a:r>
        </a:p>
      </dsp:txBody>
      <dsp:txXfrm>
        <a:off x="5317717" y="1247677"/>
        <a:ext cx="1426897" cy="1426626"/>
      </dsp:txXfrm>
    </dsp:sp>
    <dsp:sp modelId="{52C54E96-B04B-463B-8EAF-84FA42020977}">
      <dsp:nvSpPr>
        <dsp:cNvPr id="0" name=""/>
        <dsp:cNvSpPr/>
      </dsp:nvSpPr>
      <dsp:spPr>
        <a:xfrm rot="2700000">
          <a:off x="2749880" y="891038"/>
          <a:ext cx="2139529" cy="2139529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10433E-6D4F-40E4-A6BD-15B9E11097E2}">
      <dsp:nvSpPr>
        <dsp:cNvPr id="0" name=""/>
        <dsp:cNvSpPr/>
      </dsp:nvSpPr>
      <dsp:spPr>
        <a:xfrm>
          <a:off x="2821500" y="962277"/>
          <a:ext cx="1997428" cy="1997427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Slug flow has not been continuous</a:t>
          </a:r>
        </a:p>
      </dsp:txBody>
      <dsp:txXfrm>
        <a:off x="3107335" y="1247677"/>
        <a:ext cx="1426897" cy="1426626"/>
      </dsp:txXfrm>
    </dsp:sp>
    <dsp:sp modelId="{7310CC09-296C-45B7-A185-E325C0F0314B}">
      <dsp:nvSpPr>
        <dsp:cNvPr id="0" name=""/>
        <dsp:cNvSpPr/>
      </dsp:nvSpPr>
      <dsp:spPr>
        <a:xfrm rot="2700000">
          <a:off x="538360" y="891038"/>
          <a:ext cx="2139529" cy="2139529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940E8D-C258-40AE-BB86-132CAB658DDC}">
      <dsp:nvSpPr>
        <dsp:cNvPr id="0" name=""/>
        <dsp:cNvSpPr/>
      </dsp:nvSpPr>
      <dsp:spPr>
        <a:xfrm>
          <a:off x="609980" y="962277"/>
          <a:ext cx="1997428" cy="1997427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Minimum 240 minutes since last first slug</a:t>
          </a:r>
        </a:p>
      </dsp:txBody>
      <dsp:txXfrm>
        <a:off x="895815" y="1247677"/>
        <a:ext cx="1426897" cy="142662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11B482-4B24-449B-B1C0-C174B5CBB46B}">
      <dsp:nvSpPr>
        <dsp:cNvPr id="0" name=""/>
        <dsp:cNvSpPr/>
      </dsp:nvSpPr>
      <dsp:spPr>
        <a:xfrm>
          <a:off x="391487" y="0"/>
          <a:ext cx="2744450" cy="864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Data is out of range</a:t>
          </a:r>
        </a:p>
      </dsp:txBody>
      <dsp:txXfrm>
        <a:off x="416804" y="25317"/>
        <a:ext cx="2693816" cy="813759"/>
      </dsp:txXfrm>
    </dsp:sp>
    <dsp:sp modelId="{5CCB06E5-EA2D-4DC6-B191-81098E377D5B}">
      <dsp:nvSpPr>
        <dsp:cNvPr id="0" name=""/>
        <dsp:cNvSpPr/>
      </dsp:nvSpPr>
      <dsp:spPr>
        <a:xfrm rot="5400000">
          <a:off x="1601638" y="886003"/>
          <a:ext cx="324147" cy="3889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/>
        </a:p>
      </dsp:txBody>
      <dsp:txXfrm rot="-5400000">
        <a:off x="1647018" y="918418"/>
        <a:ext cx="233387" cy="226903"/>
      </dsp:txXfrm>
    </dsp:sp>
    <dsp:sp modelId="{39B86996-69D5-463B-81D8-5028AB52E09F}">
      <dsp:nvSpPr>
        <dsp:cNvPr id="0" name=""/>
        <dsp:cNvSpPr/>
      </dsp:nvSpPr>
      <dsp:spPr>
        <a:xfrm>
          <a:off x="391487" y="1296590"/>
          <a:ext cx="2744450" cy="864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Thresholding method with integrated threshold values</a:t>
          </a:r>
        </a:p>
      </dsp:txBody>
      <dsp:txXfrm>
        <a:off x="416804" y="1321907"/>
        <a:ext cx="2693816" cy="813759"/>
      </dsp:txXfrm>
    </dsp:sp>
    <dsp:sp modelId="{38058D9B-21F0-4DE8-939B-907E3AA3E09B}">
      <dsp:nvSpPr>
        <dsp:cNvPr id="0" name=""/>
        <dsp:cNvSpPr/>
      </dsp:nvSpPr>
      <dsp:spPr>
        <a:xfrm rot="5400000">
          <a:off x="1601638" y="2182594"/>
          <a:ext cx="324147" cy="3889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/>
        </a:p>
      </dsp:txBody>
      <dsp:txXfrm rot="-5400000">
        <a:off x="1647018" y="2215009"/>
        <a:ext cx="233387" cy="226903"/>
      </dsp:txXfrm>
    </dsp:sp>
    <dsp:sp modelId="{83DC22C5-1661-4753-8DD1-B7792898447F}">
      <dsp:nvSpPr>
        <dsp:cNvPr id="0" name=""/>
        <dsp:cNvSpPr/>
      </dsp:nvSpPr>
      <dsp:spPr>
        <a:xfrm>
          <a:off x="391487" y="2593181"/>
          <a:ext cx="2744450" cy="864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Set threshold values method</a:t>
          </a:r>
        </a:p>
      </dsp:txBody>
      <dsp:txXfrm>
        <a:off x="416804" y="2618498"/>
        <a:ext cx="2693816" cy="81375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076697-4557-4F94-AB5A-A247750986CE}">
      <dsp:nvSpPr>
        <dsp:cNvPr id="0" name=""/>
        <dsp:cNvSpPr/>
      </dsp:nvSpPr>
      <dsp:spPr>
        <a:xfrm>
          <a:off x="213206" y="0"/>
          <a:ext cx="3101012" cy="864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Closed choke and moving choke corrupt models and data</a:t>
          </a:r>
          <a:endParaRPr lang="en-GB" sz="1800" kern="1200" dirty="0"/>
        </a:p>
      </dsp:txBody>
      <dsp:txXfrm>
        <a:off x="238523" y="25317"/>
        <a:ext cx="3050378" cy="813759"/>
      </dsp:txXfrm>
    </dsp:sp>
    <dsp:sp modelId="{82663738-87B9-4EA3-9350-EB99D0F39562}">
      <dsp:nvSpPr>
        <dsp:cNvPr id="0" name=""/>
        <dsp:cNvSpPr/>
      </dsp:nvSpPr>
      <dsp:spPr>
        <a:xfrm rot="5400000">
          <a:off x="1601638" y="886003"/>
          <a:ext cx="324147" cy="3889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/>
        </a:p>
      </dsp:txBody>
      <dsp:txXfrm rot="-5400000">
        <a:off x="1647018" y="918418"/>
        <a:ext cx="233387" cy="226903"/>
      </dsp:txXfrm>
    </dsp:sp>
    <dsp:sp modelId="{A3625A7B-30BE-4A13-87EF-E9CD1F814910}">
      <dsp:nvSpPr>
        <dsp:cNvPr id="0" name=""/>
        <dsp:cNvSpPr/>
      </dsp:nvSpPr>
      <dsp:spPr>
        <a:xfrm>
          <a:off x="213206" y="1296590"/>
          <a:ext cx="3101012" cy="864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Clean choke method, above 99%</a:t>
          </a:r>
        </a:p>
      </dsp:txBody>
      <dsp:txXfrm>
        <a:off x="238523" y="1321907"/>
        <a:ext cx="3050378" cy="813759"/>
      </dsp:txXfrm>
    </dsp:sp>
    <dsp:sp modelId="{3761BD14-7BCE-4742-B826-E62028DE0652}">
      <dsp:nvSpPr>
        <dsp:cNvPr id="0" name=""/>
        <dsp:cNvSpPr/>
      </dsp:nvSpPr>
      <dsp:spPr>
        <a:xfrm rot="5400000">
          <a:off x="1601638" y="2182594"/>
          <a:ext cx="324147" cy="3889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/>
        </a:p>
      </dsp:txBody>
      <dsp:txXfrm rot="-5400000">
        <a:off x="1647018" y="2215009"/>
        <a:ext cx="233387" cy="226903"/>
      </dsp:txXfrm>
    </dsp:sp>
    <dsp:sp modelId="{75D709D9-2DB9-4B51-9312-D62BA29BE6B5}">
      <dsp:nvSpPr>
        <dsp:cNvPr id="0" name=""/>
        <dsp:cNvSpPr/>
      </dsp:nvSpPr>
      <dsp:spPr>
        <a:xfrm>
          <a:off x="213206" y="2593181"/>
          <a:ext cx="3101012" cy="864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Clean choke method, above 5% and not transitioning</a:t>
          </a:r>
        </a:p>
      </dsp:txBody>
      <dsp:txXfrm>
        <a:off x="238523" y="2618498"/>
        <a:ext cx="3050378" cy="81375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3EF756-BF24-413C-B60C-C14250A195E2}">
      <dsp:nvSpPr>
        <dsp:cNvPr id="0" name=""/>
        <dsp:cNvSpPr/>
      </dsp:nvSpPr>
      <dsp:spPr>
        <a:xfrm>
          <a:off x="243713" y="0"/>
          <a:ext cx="3041585" cy="864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Slug behaviour and DHP range are changing over 10 years</a:t>
          </a:r>
        </a:p>
      </dsp:txBody>
      <dsp:txXfrm>
        <a:off x="269030" y="25317"/>
        <a:ext cx="2990951" cy="813759"/>
      </dsp:txXfrm>
    </dsp:sp>
    <dsp:sp modelId="{A16746DD-7911-4C78-BC8C-573956582D49}">
      <dsp:nvSpPr>
        <dsp:cNvPr id="0" name=""/>
        <dsp:cNvSpPr/>
      </dsp:nvSpPr>
      <dsp:spPr>
        <a:xfrm rot="5400000">
          <a:off x="1602432" y="886003"/>
          <a:ext cx="324147" cy="3889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/>
        </a:p>
      </dsp:txBody>
      <dsp:txXfrm rot="-5400000">
        <a:off x="1647812" y="918418"/>
        <a:ext cx="233387" cy="226903"/>
      </dsp:txXfrm>
    </dsp:sp>
    <dsp:sp modelId="{BB88FF79-B411-4228-B6AA-A3B2AD58B3EB}">
      <dsp:nvSpPr>
        <dsp:cNvPr id="0" name=""/>
        <dsp:cNvSpPr/>
      </dsp:nvSpPr>
      <dsp:spPr>
        <a:xfrm>
          <a:off x="243713" y="1296590"/>
          <a:ext cx="3041585" cy="864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Time range cropping method</a:t>
          </a:r>
        </a:p>
      </dsp:txBody>
      <dsp:txXfrm>
        <a:off x="269030" y="1321907"/>
        <a:ext cx="2990951" cy="813759"/>
      </dsp:txXfrm>
    </dsp:sp>
    <dsp:sp modelId="{9D7CAF42-AFC7-4042-9764-4E0D0D6C7658}">
      <dsp:nvSpPr>
        <dsp:cNvPr id="0" name=""/>
        <dsp:cNvSpPr/>
      </dsp:nvSpPr>
      <dsp:spPr>
        <a:xfrm rot="5400000">
          <a:off x="1602432" y="2182594"/>
          <a:ext cx="324147" cy="3889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/>
        </a:p>
      </dsp:txBody>
      <dsp:txXfrm rot="-5400000">
        <a:off x="1647812" y="2215009"/>
        <a:ext cx="233387" cy="226903"/>
      </dsp:txXfrm>
    </dsp:sp>
    <dsp:sp modelId="{2772D653-D53B-4581-8156-BF539E4208DD}">
      <dsp:nvSpPr>
        <dsp:cNvPr id="0" name=""/>
        <dsp:cNvSpPr/>
      </dsp:nvSpPr>
      <dsp:spPr>
        <a:xfrm>
          <a:off x="243713" y="2593181"/>
          <a:ext cx="3041585" cy="864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Reset method </a:t>
          </a:r>
        </a:p>
      </dsp:txBody>
      <dsp:txXfrm>
        <a:off x="269030" y="2618498"/>
        <a:ext cx="2990951" cy="81375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FB5B14-72BF-45BF-AC8A-049C4D208BE6}">
      <dsp:nvSpPr>
        <dsp:cNvPr id="0" name=""/>
        <dsp:cNvSpPr/>
      </dsp:nvSpPr>
      <dsp:spPr>
        <a:xfrm>
          <a:off x="1683123" y="0"/>
          <a:ext cx="8763000" cy="5476875"/>
        </a:xfrm>
        <a:prstGeom prst="swooshArrow">
          <a:avLst>
            <a:gd name="adj1" fmla="val 25000"/>
            <a:gd name="adj2" fmla="val 2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98F7E2-3B27-4F0B-8E82-9A786DD87C71}">
      <dsp:nvSpPr>
        <dsp:cNvPr id="0" name=""/>
        <dsp:cNvSpPr/>
      </dsp:nvSpPr>
      <dsp:spPr>
        <a:xfrm>
          <a:off x="2546279" y="4072604"/>
          <a:ext cx="201549" cy="20154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4A774F3-0875-42A1-83A3-4C8D4BD2D1E1}">
      <dsp:nvSpPr>
        <dsp:cNvPr id="0" name=""/>
        <dsp:cNvSpPr/>
      </dsp:nvSpPr>
      <dsp:spPr>
        <a:xfrm>
          <a:off x="2647053" y="4173378"/>
          <a:ext cx="1498473" cy="13034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797" tIns="0" rIns="0" bIns="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/>
            <a:t>Slug Labelling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700" kern="1200" dirty="0"/>
            <a:t>Unsupervised Learning </a:t>
          </a:r>
        </a:p>
      </dsp:txBody>
      <dsp:txXfrm>
        <a:off x="2647053" y="4173378"/>
        <a:ext cx="1498473" cy="1303496"/>
      </dsp:txXfrm>
    </dsp:sp>
    <dsp:sp modelId="{A63FA0A0-BF7C-48AA-B06B-A710184E5CEA}">
      <dsp:nvSpPr>
        <dsp:cNvPr id="0" name=""/>
        <dsp:cNvSpPr/>
      </dsp:nvSpPr>
      <dsp:spPr>
        <a:xfrm>
          <a:off x="3970266" y="2798683"/>
          <a:ext cx="350520" cy="350520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BFF43F35-B912-435B-BF49-F1435BC7CAF3}">
      <dsp:nvSpPr>
        <dsp:cNvPr id="0" name=""/>
        <dsp:cNvSpPr/>
      </dsp:nvSpPr>
      <dsp:spPr>
        <a:xfrm>
          <a:off x="4145526" y="2973943"/>
          <a:ext cx="1840230" cy="25029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5733" tIns="0" rIns="0" bIns="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/>
            <a:t>Flow Recognition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700" kern="1200" dirty="0"/>
            <a:t>Supervised Learning</a:t>
          </a:r>
        </a:p>
      </dsp:txBody>
      <dsp:txXfrm>
        <a:off x="4145526" y="2973943"/>
        <a:ext cx="1840230" cy="2502931"/>
      </dsp:txXfrm>
    </dsp:sp>
    <dsp:sp modelId="{BBA86B06-7B6E-469E-BD74-799F21A711AA}">
      <dsp:nvSpPr>
        <dsp:cNvPr id="0" name=""/>
        <dsp:cNvSpPr/>
      </dsp:nvSpPr>
      <dsp:spPr>
        <a:xfrm>
          <a:off x="5788589" y="1859946"/>
          <a:ext cx="464439" cy="46443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242D6E5-884D-4CAE-8D7A-B8AAEC5E46AD}">
      <dsp:nvSpPr>
        <dsp:cNvPr id="0" name=""/>
        <dsp:cNvSpPr/>
      </dsp:nvSpPr>
      <dsp:spPr>
        <a:xfrm>
          <a:off x="6020808" y="2092166"/>
          <a:ext cx="1840230" cy="3384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6097" tIns="0" rIns="0" bIns="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/>
            <a:t>Slug Detection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700" kern="1200" dirty="0"/>
            <a:t>Supervised Learning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700" kern="1200" dirty="0"/>
            <a:t>Feature Engineering</a:t>
          </a:r>
        </a:p>
      </dsp:txBody>
      <dsp:txXfrm>
        <a:off x="6020808" y="2092166"/>
        <a:ext cx="1840230" cy="3384708"/>
      </dsp:txXfrm>
    </dsp:sp>
    <dsp:sp modelId="{6D460EC6-0E79-4075-A219-766B891E9CFF}">
      <dsp:nvSpPr>
        <dsp:cNvPr id="0" name=""/>
        <dsp:cNvSpPr/>
      </dsp:nvSpPr>
      <dsp:spPr>
        <a:xfrm>
          <a:off x="7769027" y="1238869"/>
          <a:ext cx="622173" cy="622173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23D6195-2CB4-4059-8855-0AFEAE37661A}">
      <dsp:nvSpPr>
        <dsp:cNvPr id="0" name=""/>
        <dsp:cNvSpPr/>
      </dsp:nvSpPr>
      <dsp:spPr>
        <a:xfrm>
          <a:off x="8080113" y="1549955"/>
          <a:ext cx="1840230" cy="39269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9677" tIns="0" rIns="0" bIns="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/>
            <a:t>Slug Forecasting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700" kern="1200" dirty="0"/>
            <a:t>Times Series Model</a:t>
          </a:r>
        </a:p>
      </dsp:txBody>
      <dsp:txXfrm>
        <a:off x="8080113" y="1549955"/>
        <a:ext cx="1840230" cy="392691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DBB2C8-AD78-4671-B5B1-053794425053}">
      <dsp:nvSpPr>
        <dsp:cNvPr id="0" name=""/>
        <dsp:cNvSpPr/>
      </dsp:nvSpPr>
      <dsp:spPr>
        <a:xfrm rot="16200000">
          <a:off x="-1458107" y="2325427"/>
          <a:ext cx="3510000" cy="4714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15769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Objectives</a:t>
          </a:r>
          <a:endParaRPr lang="en-GB" sz="2000" kern="1200" dirty="0"/>
        </a:p>
      </dsp:txBody>
      <dsp:txXfrm>
        <a:off x="-1458107" y="2325427"/>
        <a:ext cx="3510000" cy="471423"/>
      </dsp:txXfrm>
    </dsp:sp>
    <dsp:sp modelId="{CF1ED262-4091-4D21-8766-61470B314114}">
      <dsp:nvSpPr>
        <dsp:cNvPr id="0" name=""/>
        <dsp:cNvSpPr/>
      </dsp:nvSpPr>
      <dsp:spPr>
        <a:xfrm>
          <a:off x="532604" y="806139"/>
          <a:ext cx="2348188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415769" rIns="170688" bIns="17068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Cluster together and label flow portions as: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900" kern="1200" dirty="0"/>
            <a:t>Choked Flow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900" kern="1200" dirty="0"/>
            <a:t>Normal Flow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900" kern="1200" dirty="0"/>
            <a:t>Slug Flow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900" kern="1200" dirty="0"/>
            <a:t>Pre - Slug after Choke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900" kern="1200" dirty="0"/>
            <a:t>Pre-Slug formation </a:t>
          </a:r>
        </a:p>
      </dsp:txBody>
      <dsp:txXfrm>
        <a:off x="532604" y="806139"/>
        <a:ext cx="2348188" cy="3510000"/>
      </dsp:txXfrm>
    </dsp:sp>
    <dsp:sp modelId="{DE06C3B0-28F9-4395-B635-F88B675CB338}">
      <dsp:nvSpPr>
        <dsp:cNvPr id="0" name=""/>
        <dsp:cNvSpPr/>
      </dsp:nvSpPr>
      <dsp:spPr>
        <a:xfrm>
          <a:off x="61180" y="183860"/>
          <a:ext cx="942846" cy="94284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6C7018-F4A2-4888-892F-976FF3D60AE1}">
      <dsp:nvSpPr>
        <dsp:cNvPr id="0" name=""/>
        <dsp:cNvSpPr/>
      </dsp:nvSpPr>
      <dsp:spPr>
        <a:xfrm rot="16200000">
          <a:off x="1978828" y="2325427"/>
          <a:ext cx="3510000" cy="4714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15769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Machine Learning Technique</a:t>
          </a:r>
        </a:p>
      </dsp:txBody>
      <dsp:txXfrm>
        <a:off x="1978828" y="2325427"/>
        <a:ext cx="3510000" cy="471423"/>
      </dsp:txXfrm>
    </dsp:sp>
    <dsp:sp modelId="{A04E8ADD-84BC-48C0-B798-B7764D4FE093}">
      <dsp:nvSpPr>
        <dsp:cNvPr id="0" name=""/>
        <dsp:cNvSpPr/>
      </dsp:nvSpPr>
      <dsp:spPr>
        <a:xfrm>
          <a:off x="3969540" y="806139"/>
          <a:ext cx="2348188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415769" rIns="170688" bIns="17068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Unsupervised learning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K-Means Classification</a:t>
          </a:r>
        </a:p>
      </dsp:txBody>
      <dsp:txXfrm>
        <a:off x="3969540" y="806139"/>
        <a:ext cx="2348188" cy="3510000"/>
      </dsp:txXfrm>
    </dsp:sp>
    <dsp:sp modelId="{1CB11BFC-7A2F-4F78-A10D-66818516050C}">
      <dsp:nvSpPr>
        <dsp:cNvPr id="0" name=""/>
        <dsp:cNvSpPr/>
      </dsp:nvSpPr>
      <dsp:spPr>
        <a:xfrm>
          <a:off x="3498117" y="193194"/>
          <a:ext cx="942846" cy="94284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C103FC-2CE9-4840-A700-B2203AD1F7DF}">
      <dsp:nvSpPr>
        <dsp:cNvPr id="0" name=""/>
        <dsp:cNvSpPr/>
      </dsp:nvSpPr>
      <dsp:spPr>
        <a:xfrm rot="16200000">
          <a:off x="5415765" y="2325427"/>
          <a:ext cx="3510000" cy="4714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15769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Data Pre Processing</a:t>
          </a:r>
        </a:p>
      </dsp:txBody>
      <dsp:txXfrm>
        <a:off x="5415765" y="2325427"/>
        <a:ext cx="3510000" cy="471423"/>
      </dsp:txXfrm>
    </dsp:sp>
    <dsp:sp modelId="{458C8B71-20F4-4AEE-8A87-AE722F3FE252}">
      <dsp:nvSpPr>
        <dsp:cNvPr id="0" name=""/>
        <dsp:cNvSpPr/>
      </dsp:nvSpPr>
      <dsp:spPr>
        <a:xfrm>
          <a:off x="7406476" y="806139"/>
          <a:ext cx="2348188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415769" rIns="170688" bIns="17068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Feature vector: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900" kern="1200" dirty="0"/>
            <a:t>full data set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900" kern="1200" dirty="0"/>
            <a:t>5, 20 and 40 minutes window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Clean choke of values below 99% open</a:t>
          </a:r>
        </a:p>
      </dsp:txBody>
      <dsp:txXfrm>
        <a:off x="7406476" y="806139"/>
        <a:ext cx="2348188" cy="3510000"/>
      </dsp:txXfrm>
    </dsp:sp>
    <dsp:sp modelId="{06ACCCCE-770F-4452-BA79-FE72AF355602}">
      <dsp:nvSpPr>
        <dsp:cNvPr id="0" name=""/>
        <dsp:cNvSpPr/>
      </dsp:nvSpPr>
      <dsp:spPr>
        <a:xfrm>
          <a:off x="6935053" y="183860"/>
          <a:ext cx="942846" cy="94284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D99F18-7420-45FF-8C29-C89B1F62FA8A}">
      <dsp:nvSpPr>
        <dsp:cNvPr id="0" name=""/>
        <dsp:cNvSpPr/>
      </dsp:nvSpPr>
      <dsp:spPr>
        <a:xfrm rot="16200000">
          <a:off x="-1476402" y="2317623"/>
          <a:ext cx="3510000" cy="422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72749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Objectives</a:t>
          </a:r>
          <a:endParaRPr lang="en-GB" sz="2000" kern="1200" dirty="0"/>
        </a:p>
      </dsp:txBody>
      <dsp:txXfrm>
        <a:off x="-1476402" y="2317623"/>
        <a:ext cx="3510000" cy="422644"/>
      </dsp:txXfrm>
    </dsp:sp>
    <dsp:sp modelId="{6D4C54EC-86C1-493A-A3FB-FD91877167D0}">
      <dsp:nvSpPr>
        <dsp:cNvPr id="0" name=""/>
        <dsp:cNvSpPr/>
      </dsp:nvSpPr>
      <dsp:spPr>
        <a:xfrm>
          <a:off x="489919" y="773945"/>
          <a:ext cx="2105216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372749" rIns="163576" bIns="16357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Train and Tune a model to classify different flows:</a:t>
          </a: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800" kern="1200" dirty="0"/>
            <a:t>Slug</a:t>
          </a: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800" kern="1200" dirty="0"/>
            <a:t>First Slug</a:t>
          </a: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800" kern="1200" dirty="0"/>
            <a:t>Pre-Slug flow</a:t>
          </a: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800" kern="1200" dirty="0"/>
            <a:t>Normal flow </a:t>
          </a: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800" kern="1200" dirty="0"/>
            <a:t>Else</a:t>
          </a:r>
        </a:p>
      </dsp:txBody>
      <dsp:txXfrm>
        <a:off x="489919" y="773945"/>
        <a:ext cx="2105216" cy="3510000"/>
      </dsp:txXfrm>
    </dsp:sp>
    <dsp:sp modelId="{7FC7DA89-B9DD-4CCF-BFF8-52B37EF9AA8C}">
      <dsp:nvSpPr>
        <dsp:cNvPr id="0" name=""/>
        <dsp:cNvSpPr/>
      </dsp:nvSpPr>
      <dsp:spPr>
        <a:xfrm>
          <a:off x="67275" y="216054"/>
          <a:ext cx="845288" cy="84528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85BC67-B164-4FD7-A35F-A6310F44928A}">
      <dsp:nvSpPr>
        <dsp:cNvPr id="0" name=""/>
        <dsp:cNvSpPr/>
      </dsp:nvSpPr>
      <dsp:spPr>
        <a:xfrm rot="16200000">
          <a:off x="1613041" y="2317623"/>
          <a:ext cx="3510000" cy="422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72749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Machine Learning Technique</a:t>
          </a:r>
        </a:p>
      </dsp:txBody>
      <dsp:txXfrm>
        <a:off x="1613041" y="2317623"/>
        <a:ext cx="3510000" cy="422644"/>
      </dsp:txXfrm>
    </dsp:sp>
    <dsp:sp modelId="{98B29184-30BC-40AC-984B-E4A3FC263D47}">
      <dsp:nvSpPr>
        <dsp:cNvPr id="0" name=""/>
        <dsp:cNvSpPr/>
      </dsp:nvSpPr>
      <dsp:spPr>
        <a:xfrm>
          <a:off x="3579363" y="773945"/>
          <a:ext cx="2105216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372749" rIns="163576" bIns="16357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Supervised Learning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Two Classifiers:</a:t>
          </a: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800" kern="1200" dirty="0"/>
            <a:t>Logistic Regression</a:t>
          </a: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800" kern="1200" dirty="0"/>
            <a:t>Support Vector Machines (SVM)</a:t>
          </a:r>
        </a:p>
      </dsp:txBody>
      <dsp:txXfrm>
        <a:off x="3579363" y="773945"/>
        <a:ext cx="2105216" cy="3510000"/>
      </dsp:txXfrm>
    </dsp:sp>
    <dsp:sp modelId="{5379EB61-C3ED-4108-A12A-3E3BF1B5AEA6}">
      <dsp:nvSpPr>
        <dsp:cNvPr id="0" name=""/>
        <dsp:cNvSpPr/>
      </dsp:nvSpPr>
      <dsp:spPr>
        <a:xfrm>
          <a:off x="3156719" y="216054"/>
          <a:ext cx="845288" cy="84528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6E42DE-50F2-472C-9794-0FC35AC30DCA}">
      <dsp:nvSpPr>
        <dsp:cNvPr id="0" name=""/>
        <dsp:cNvSpPr/>
      </dsp:nvSpPr>
      <dsp:spPr>
        <a:xfrm rot="16200000">
          <a:off x="4702485" y="2317623"/>
          <a:ext cx="3510000" cy="422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72749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/>
            <a:t>Data Pre Processing</a:t>
          </a:r>
          <a:endParaRPr lang="en-GB" sz="2000" b="1" kern="1200" dirty="0"/>
        </a:p>
      </dsp:txBody>
      <dsp:txXfrm>
        <a:off x="4702485" y="2317623"/>
        <a:ext cx="3510000" cy="422644"/>
      </dsp:txXfrm>
    </dsp:sp>
    <dsp:sp modelId="{36D680F2-1BE2-4631-91AF-BC7E9974759B}">
      <dsp:nvSpPr>
        <dsp:cNvPr id="0" name=""/>
        <dsp:cNvSpPr/>
      </dsp:nvSpPr>
      <dsp:spPr>
        <a:xfrm>
          <a:off x="6668807" y="773945"/>
          <a:ext cx="2105216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372749" rIns="163576" bIns="16357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Feature vector:</a:t>
          </a: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800" kern="1200" dirty="0"/>
            <a:t>full data set</a:t>
          </a: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800" kern="1200" dirty="0"/>
            <a:t>5, 20 and 40 minutes window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Clean choke of values below 99% open</a:t>
          </a:r>
        </a:p>
      </dsp:txBody>
      <dsp:txXfrm>
        <a:off x="6668807" y="773945"/>
        <a:ext cx="2105216" cy="3510000"/>
      </dsp:txXfrm>
    </dsp:sp>
    <dsp:sp modelId="{F24C8A2A-BFC0-4AF3-9292-25C45C633A2E}">
      <dsp:nvSpPr>
        <dsp:cNvPr id="0" name=""/>
        <dsp:cNvSpPr/>
      </dsp:nvSpPr>
      <dsp:spPr>
        <a:xfrm>
          <a:off x="6246163" y="216054"/>
          <a:ext cx="845288" cy="84528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A09A21-2358-4D88-87D1-1D0D7F6E68EB}">
      <dsp:nvSpPr>
        <dsp:cNvPr id="0" name=""/>
        <dsp:cNvSpPr/>
      </dsp:nvSpPr>
      <dsp:spPr>
        <a:xfrm rot="16200000">
          <a:off x="7791929" y="2317623"/>
          <a:ext cx="3510000" cy="422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72749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Data Labelling</a:t>
          </a:r>
        </a:p>
      </dsp:txBody>
      <dsp:txXfrm>
        <a:off x="7791929" y="2317623"/>
        <a:ext cx="3510000" cy="422644"/>
      </dsp:txXfrm>
    </dsp:sp>
    <dsp:sp modelId="{479074FA-78F6-423E-98CE-E83297FAB5DC}">
      <dsp:nvSpPr>
        <dsp:cNvPr id="0" name=""/>
        <dsp:cNvSpPr/>
      </dsp:nvSpPr>
      <dsp:spPr>
        <a:xfrm>
          <a:off x="9758251" y="773945"/>
          <a:ext cx="2105216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372749" rIns="163576" bIns="16357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label = “slug” WHEN WHP differential &gt; 3 </a:t>
          </a:r>
          <a:r>
            <a:rPr lang="en-GB" sz="1800" kern="1200" dirty="0" err="1"/>
            <a:t>BarG</a:t>
          </a:r>
          <a:endParaRPr lang="en-GB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label = ‘normal’ WHEN WH choke &amp; WHP diff constant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Window labels are extrapolated from point labels</a:t>
          </a:r>
        </a:p>
      </dsp:txBody>
      <dsp:txXfrm>
        <a:off x="9758251" y="773945"/>
        <a:ext cx="2105216" cy="3510000"/>
      </dsp:txXfrm>
    </dsp:sp>
    <dsp:sp modelId="{D66E350E-A337-4E80-ABA5-DAD297E0D59D}">
      <dsp:nvSpPr>
        <dsp:cNvPr id="0" name=""/>
        <dsp:cNvSpPr/>
      </dsp:nvSpPr>
      <dsp:spPr>
        <a:xfrm>
          <a:off x="9335607" y="216054"/>
          <a:ext cx="845288" cy="845288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0A9A3C-BB68-48F3-B6CA-39FEBEF3E298}">
      <dsp:nvSpPr>
        <dsp:cNvPr id="0" name=""/>
        <dsp:cNvSpPr/>
      </dsp:nvSpPr>
      <dsp:spPr>
        <a:xfrm rot="16200000">
          <a:off x="-1476402" y="2317623"/>
          <a:ext cx="3510000" cy="422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72749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Objectives</a:t>
          </a:r>
          <a:endParaRPr lang="en-GB" sz="2000" kern="1200" dirty="0"/>
        </a:p>
      </dsp:txBody>
      <dsp:txXfrm>
        <a:off x="-1476402" y="2317623"/>
        <a:ext cx="3510000" cy="422644"/>
      </dsp:txXfrm>
    </dsp:sp>
    <dsp:sp modelId="{B2F09DA4-BD24-44E6-868B-BB881F3EC983}">
      <dsp:nvSpPr>
        <dsp:cNvPr id="0" name=""/>
        <dsp:cNvSpPr/>
      </dsp:nvSpPr>
      <dsp:spPr>
        <a:xfrm>
          <a:off x="489919" y="773945"/>
          <a:ext cx="2105216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372749" rIns="170688" bIns="17068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Train and Tune a model to classify: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900" kern="1200" dirty="0"/>
            <a:t>Flow intervals leading to slug flow (True)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900" kern="1200" dirty="0"/>
            <a:t>Flow intervals leading to normal flow (False)</a:t>
          </a:r>
        </a:p>
      </dsp:txBody>
      <dsp:txXfrm>
        <a:off x="489919" y="773945"/>
        <a:ext cx="2105216" cy="3510000"/>
      </dsp:txXfrm>
    </dsp:sp>
    <dsp:sp modelId="{6C91DD24-0680-4A15-B200-0A3A75435B01}">
      <dsp:nvSpPr>
        <dsp:cNvPr id="0" name=""/>
        <dsp:cNvSpPr/>
      </dsp:nvSpPr>
      <dsp:spPr>
        <a:xfrm>
          <a:off x="67275" y="216054"/>
          <a:ext cx="845288" cy="84528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FACB55-C938-4414-9670-0A54E0C3D093}">
      <dsp:nvSpPr>
        <dsp:cNvPr id="0" name=""/>
        <dsp:cNvSpPr/>
      </dsp:nvSpPr>
      <dsp:spPr>
        <a:xfrm rot="16200000">
          <a:off x="1613041" y="2317623"/>
          <a:ext cx="3510000" cy="422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72749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Machine Learning Technique</a:t>
          </a:r>
        </a:p>
      </dsp:txBody>
      <dsp:txXfrm>
        <a:off x="1613041" y="2317623"/>
        <a:ext cx="3510000" cy="422644"/>
      </dsp:txXfrm>
    </dsp:sp>
    <dsp:sp modelId="{E1C2CF92-8A4F-4CF7-B0F9-66BAA0FB65C7}">
      <dsp:nvSpPr>
        <dsp:cNvPr id="0" name=""/>
        <dsp:cNvSpPr/>
      </dsp:nvSpPr>
      <dsp:spPr>
        <a:xfrm>
          <a:off x="3579363" y="773945"/>
          <a:ext cx="2105216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372749" rIns="170688" bIns="17068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Supervised Learning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Two Classifiers: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900" kern="1200" dirty="0"/>
            <a:t>Random Forest 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GB" sz="1900" kern="1200" dirty="0"/>
            <a:t>Logistic Regression</a:t>
          </a:r>
        </a:p>
      </dsp:txBody>
      <dsp:txXfrm>
        <a:off x="3579363" y="773945"/>
        <a:ext cx="2105216" cy="3510000"/>
      </dsp:txXfrm>
    </dsp:sp>
    <dsp:sp modelId="{91A67124-D823-4758-B3B7-69C106BD296C}">
      <dsp:nvSpPr>
        <dsp:cNvPr id="0" name=""/>
        <dsp:cNvSpPr/>
      </dsp:nvSpPr>
      <dsp:spPr>
        <a:xfrm>
          <a:off x="3156719" y="216054"/>
          <a:ext cx="845288" cy="84528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D7ED4D-D5A1-4F94-B1C6-1260AC4CCBCC}">
      <dsp:nvSpPr>
        <dsp:cNvPr id="0" name=""/>
        <dsp:cNvSpPr/>
      </dsp:nvSpPr>
      <dsp:spPr>
        <a:xfrm rot="16200000">
          <a:off x="4702485" y="2317623"/>
          <a:ext cx="3510000" cy="422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72749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Data Pre Processing</a:t>
          </a:r>
        </a:p>
      </dsp:txBody>
      <dsp:txXfrm>
        <a:off x="4702485" y="2317623"/>
        <a:ext cx="3510000" cy="422644"/>
      </dsp:txXfrm>
    </dsp:sp>
    <dsp:sp modelId="{68BEE581-252C-4074-9754-826EBEB23353}">
      <dsp:nvSpPr>
        <dsp:cNvPr id="0" name=""/>
        <dsp:cNvSpPr/>
      </dsp:nvSpPr>
      <dsp:spPr>
        <a:xfrm>
          <a:off x="6668807" y="773945"/>
          <a:ext cx="2105216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372749" rIns="170688" bIns="17068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Consider only continuous data where WH choke &gt; 99%, and min time is 300 minutes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Deep Feature Engineering</a:t>
          </a:r>
        </a:p>
      </dsp:txBody>
      <dsp:txXfrm>
        <a:off x="6668807" y="773945"/>
        <a:ext cx="2105216" cy="3510000"/>
      </dsp:txXfrm>
    </dsp:sp>
    <dsp:sp modelId="{1BEE533D-DD64-4EA0-AB94-65D825344524}">
      <dsp:nvSpPr>
        <dsp:cNvPr id="0" name=""/>
        <dsp:cNvSpPr/>
      </dsp:nvSpPr>
      <dsp:spPr>
        <a:xfrm>
          <a:off x="6246163" y="216054"/>
          <a:ext cx="845288" cy="84528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4A7791-55F5-46A0-AEA1-9C949E5C9235}">
      <dsp:nvSpPr>
        <dsp:cNvPr id="0" name=""/>
        <dsp:cNvSpPr/>
      </dsp:nvSpPr>
      <dsp:spPr>
        <a:xfrm rot="16200000">
          <a:off x="7791929" y="2317623"/>
          <a:ext cx="3510000" cy="422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72749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Data Labelling</a:t>
          </a:r>
        </a:p>
      </dsp:txBody>
      <dsp:txXfrm>
        <a:off x="7791929" y="2317623"/>
        <a:ext cx="3510000" cy="422644"/>
      </dsp:txXfrm>
    </dsp:sp>
    <dsp:sp modelId="{8EEA1C3A-A861-4726-8EF7-F7A99448C83F}">
      <dsp:nvSpPr>
        <dsp:cNvPr id="0" name=""/>
        <dsp:cNvSpPr/>
      </dsp:nvSpPr>
      <dsp:spPr>
        <a:xfrm>
          <a:off x="9758251" y="773945"/>
          <a:ext cx="2105216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372749" rIns="170688" bIns="170688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Slug Peaks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First Slug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/>
            <a:t>Intervals</a:t>
          </a:r>
        </a:p>
      </dsp:txBody>
      <dsp:txXfrm>
        <a:off x="9758251" y="773945"/>
        <a:ext cx="2105216" cy="3510000"/>
      </dsp:txXfrm>
    </dsp:sp>
    <dsp:sp modelId="{9F5FAC44-E2F4-4053-88DD-C71193DF36A3}">
      <dsp:nvSpPr>
        <dsp:cNvPr id="0" name=""/>
        <dsp:cNvSpPr/>
      </dsp:nvSpPr>
      <dsp:spPr>
        <a:xfrm>
          <a:off x="9335607" y="216054"/>
          <a:ext cx="845288" cy="845288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05F3CE-6AB4-497C-8918-950F38C8A4C3}">
      <dsp:nvSpPr>
        <dsp:cNvPr id="0" name=""/>
        <dsp:cNvSpPr/>
      </dsp:nvSpPr>
      <dsp:spPr>
        <a:xfrm rot="16200000">
          <a:off x="-1460305" y="2326103"/>
          <a:ext cx="3510000" cy="475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19492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Objectives</a:t>
          </a:r>
          <a:endParaRPr lang="en-GB" sz="2400" kern="1200" dirty="0"/>
        </a:p>
      </dsp:txBody>
      <dsp:txXfrm>
        <a:off x="-1460305" y="2326103"/>
        <a:ext cx="3510000" cy="475644"/>
      </dsp:txXfrm>
    </dsp:sp>
    <dsp:sp modelId="{F27FC12C-00F1-4B58-918B-40B1AF692EFB}">
      <dsp:nvSpPr>
        <dsp:cNvPr id="0" name=""/>
        <dsp:cNvSpPr/>
      </dsp:nvSpPr>
      <dsp:spPr>
        <a:xfrm>
          <a:off x="532517" y="808925"/>
          <a:ext cx="2369215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19492" rIns="128016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Train model and forecast slug flow</a:t>
          </a:r>
        </a:p>
      </dsp:txBody>
      <dsp:txXfrm>
        <a:off x="532517" y="808925"/>
        <a:ext cx="2369215" cy="3510000"/>
      </dsp:txXfrm>
    </dsp:sp>
    <dsp:sp modelId="{716C6717-8ECA-4719-AFEC-02AD98B4EBC2}">
      <dsp:nvSpPr>
        <dsp:cNvPr id="0" name=""/>
        <dsp:cNvSpPr/>
      </dsp:nvSpPr>
      <dsp:spPr>
        <a:xfrm>
          <a:off x="56872" y="181074"/>
          <a:ext cx="951289" cy="95128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64EAAC-3142-4ABB-924B-BA64627AF45A}">
      <dsp:nvSpPr>
        <dsp:cNvPr id="0" name=""/>
        <dsp:cNvSpPr/>
      </dsp:nvSpPr>
      <dsp:spPr>
        <a:xfrm rot="16200000">
          <a:off x="2007814" y="2326103"/>
          <a:ext cx="3510000" cy="475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19492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Machine Learning Technique</a:t>
          </a:r>
        </a:p>
      </dsp:txBody>
      <dsp:txXfrm>
        <a:off x="2007814" y="2326103"/>
        <a:ext cx="3510000" cy="475644"/>
      </dsp:txXfrm>
    </dsp:sp>
    <dsp:sp modelId="{EA5B8339-24B1-4F6B-AC59-E442662A2104}">
      <dsp:nvSpPr>
        <dsp:cNvPr id="0" name=""/>
        <dsp:cNvSpPr/>
      </dsp:nvSpPr>
      <dsp:spPr>
        <a:xfrm>
          <a:off x="4000637" y="808925"/>
          <a:ext cx="2369215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19492" rIns="128016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Time Series Modelling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ARIMA Model</a:t>
          </a:r>
        </a:p>
      </dsp:txBody>
      <dsp:txXfrm>
        <a:off x="4000637" y="808925"/>
        <a:ext cx="2369215" cy="3510000"/>
      </dsp:txXfrm>
    </dsp:sp>
    <dsp:sp modelId="{82706DE2-8FA7-447E-B5C1-A20D147E00FF}">
      <dsp:nvSpPr>
        <dsp:cNvPr id="0" name=""/>
        <dsp:cNvSpPr/>
      </dsp:nvSpPr>
      <dsp:spPr>
        <a:xfrm>
          <a:off x="3524992" y="181074"/>
          <a:ext cx="951289" cy="95128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ED09DF-E8EE-4FB3-BC6E-B71A8ADABBA9}">
      <dsp:nvSpPr>
        <dsp:cNvPr id="0" name=""/>
        <dsp:cNvSpPr/>
      </dsp:nvSpPr>
      <dsp:spPr>
        <a:xfrm rot="16200000">
          <a:off x="5475934" y="2326103"/>
          <a:ext cx="3510000" cy="475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19492" bIns="0" numCol="1" spcCol="1270" anchor="t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Data Pre Processing</a:t>
          </a:r>
        </a:p>
      </dsp:txBody>
      <dsp:txXfrm>
        <a:off x="5475934" y="2326103"/>
        <a:ext cx="3510000" cy="475644"/>
      </dsp:txXfrm>
    </dsp:sp>
    <dsp:sp modelId="{E00643AB-14DB-42BF-A4EB-4BC0714A6D42}">
      <dsp:nvSpPr>
        <dsp:cNvPr id="0" name=""/>
        <dsp:cNvSpPr/>
      </dsp:nvSpPr>
      <dsp:spPr>
        <a:xfrm>
          <a:off x="7468756" y="808925"/>
          <a:ext cx="2369215" cy="3510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19492" rIns="128016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‘Clean’ slugging interval lasting at least 240 minutes </a:t>
          </a:r>
        </a:p>
      </dsp:txBody>
      <dsp:txXfrm>
        <a:off x="7468756" y="808925"/>
        <a:ext cx="2369215" cy="3510000"/>
      </dsp:txXfrm>
    </dsp:sp>
    <dsp:sp modelId="{E8DB7FE8-CFCF-4192-8298-8FD43546CB48}">
      <dsp:nvSpPr>
        <dsp:cNvPr id="0" name=""/>
        <dsp:cNvSpPr/>
      </dsp:nvSpPr>
      <dsp:spPr>
        <a:xfrm>
          <a:off x="6993112" y="181074"/>
          <a:ext cx="951289" cy="95128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7B49A3-EC10-4A67-9ED8-E98ACC00416D}" type="datetimeFigureOut">
              <a:rPr lang="en-GB" smtClean="0"/>
              <a:t>10/09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C3237A-BB95-4253-8501-133DB3E173D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451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i! Before we start</a:t>
            </a:r>
          </a:p>
          <a:p>
            <a:r>
              <a:rPr lang="en-GB" dirty="0"/>
              <a:t>- This is my assessment presentation, and focuses more on Data Sciences and software development rather than results for </a:t>
            </a:r>
            <a:r>
              <a:rPr lang="en-GB" dirty="0" err="1"/>
              <a:t>Wintershall</a:t>
            </a:r>
            <a:r>
              <a:rPr lang="en-GB" dirty="0"/>
              <a:t> </a:t>
            </a:r>
            <a:r>
              <a:rPr lang="en-GB" dirty="0" err="1"/>
              <a:t>Dea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3237A-BB95-4253-8501-133DB3E173D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54355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aturates separator ability to separate.</a:t>
            </a:r>
          </a:p>
          <a:p>
            <a:r>
              <a:rPr lang="en-GB" dirty="0"/>
              <a:t>Harmful to production, so much so a  certain well has been closed for a y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3237A-BB95-4253-8501-133DB3E173D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30430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d graphs annotation</a:t>
            </a:r>
          </a:p>
          <a:p>
            <a:r>
              <a:rPr lang="en-GB" dirty="0"/>
              <a:t>X AXIS ????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3237A-BB95-4253-8501-133DB3E173D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13249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Just say don’t work, say can come back in ques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3237A-BB95-4253-8501-133DB3E173DF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94529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esults achieved after training hyperparamet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3237A-BB95-4253-8501-133DB3E173DF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6704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1463" y="1054100"/>
            <a:ext cx="6254750" cy="35194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13456" y="4701496"/>
            <a:ext cx="5570763" cy="4095887"/>
          </a:xfrm>
        </p:spPr>
        <p:txBody>
          <a:bodyPr/>
          <a:lstStyle/>
          <a:p>
            <a:endParaRPr lang="de-DE">
              <a:latin typeface="WintershallDea" panose="020B0503040000020003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WintershallDea" panose="020B0503040000020003" pitchFamily="34" charset="0"/>
              </a:rPr>
              <a:t>Seite </a:t>
            </a:r>
            <a:fld id="{0CD6A494-FFFE-462B-BF23-08BDD6DE7CD7}" type="slidenum">
              <a:rPr lang="de-DE" smtClean="0">
                <a:latin typeface="WintershallDea" panose="020B0503040000020003" pitchFamily="34" charset="0"/>
              </a:rPr>
              <a:pPr/>
              <a:t>31</a:t>
            </a:fld>
            <a:endParaRPr lang="de-DE">
              <a:latin typeface="WintershallDea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1155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3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3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50306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40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9" name="Gruppieren 28"/>
          <p:cNvGrpSpPr/>
          <p:nvPr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66072" y="4834086"/>
            <a:ext cx="2059858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bg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4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uthor: John Doe</a:t>
            </a:r>
          </a:p>
        </p:txBody>
      </p:sp>
      <p:sp>
        <p:nvSpPr>
          <p:cNvPr id="4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2055225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86349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2" y="1484784"/>
            <a:ext cx="10800000" cy="418576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32757"/>
            <a:ext cx="10800000" cy="203133"/>
          </a:xfrm>
        </p:spPr>
        <p:txBody>
          <a:bodyPr anchor="b">
            <a:sp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95400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3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331804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4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8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473116"/>
            <a:ext cx="3528000" cy="1584784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31804" y="4473116"/>
            <a:ext cx="3528000" cy="1584784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68208" y="4473116"/>
            <a:ext cx="3528000" cy="1584784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10th September 2019 Imperial College London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9223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729">
          <p15:clr>
            <a:srgbClr val="FBAE40"/>
          </p15:clr>
        </p15:guide>
        <p15:guide id="3" pos="4951">
          <p15:clr>
            <a:srgbClr val="FBAE40"/>
          </p15:clr>
        </p15:guide>
        <p15:guide id="4" pos="501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90162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8856588" cy="3457575"/>
          </a:xfrm>
        </p:spPr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itel 19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September 2019</a:t>
            </a:r>
          </a:p>
          <a:p>
            <a:r>
              <a:rPr lang="en-GB" dirty="0"/>
              <a:t>Imperial College Londo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9180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601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21340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708067" y="2600325"/>
            <a:ext cx="4788000" cy="34575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September 2019</a:t>
            </a:r>
          </a:p>
          <a:p>
            <a:r>
              <a:rPr lang="en-GB" dirty="0"/>
              <a:t>Imperial College Lond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408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589784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708068" y="2888940"/>
            <a:ext cx="4788000" cy="3168959"/>
          </a:xfrm>
        </p:spPr>
        <p:txBody>
          <a:bodyPr/>
          <a:lstStyle/>
          <a:p>
            <a:r>
              <a:rPr lang="en-GB" noProof="0" dirty="0"/>
              <a:t>Add a chart by clicking on symbol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08068" y="2600324"/>
            <a:ext cx="478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Placeholder for the chart titl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September 2019</a:t>
            </a:r>
          </a:p>
          <a:p>
            <a:r>
              <a:rPr lang="en-GB" dirty="0"/>
              <a:t>Imperial College London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3163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91304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8067" y="2600325"/>
            <a:ext cx="4788000" cy="3457575"/>
          </a:xfrm>
        </p:spPr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95400" y="2888940"/>
            <a:ext cx="5868000" cy="3168959"/>
          </a:xfrm>
        </p:spPr>
        <p:txBody>
          <a:bodyPr/>
          <a:lstStyle/>
          <a:p>
            <a:r>
              <a:rPr lang="en-GB" noProof="0" dirty="0"/>
              <a:t>Add a chart by clicking on symbo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600324"/>
            <a:ext cx="586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Placeholder for the chart 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September 2019</a:t>
            </a:r>
          </a:p>
          <a:p>
            <a:r>
              <a:rPr lang="en-GB" dirty="0"/>
              <a:t>Imperial College Londo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816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14546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September 2019</a:t>
            </a:r>
          </a:p>
          <a:p>
            <a:r>
              <a:rPr lang="en-GB" dirty="0"/>
              <a:t>Imperial College Lond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2172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916160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7" name="Gruppieren 26"/>
          <p:cNvGrpSpPr/>
          <p:nvPr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8" name="Gerader Verbinder 27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51826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99687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8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2" name="Gruppieren 21"/>
          <p:cNvGrpSpPr/>
          <p:nvPr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300073"/>
            <a:ext cx="10800000" cy="497059"/>
          </a:xfrm>
        </p:spPr>
        <p:txBody>
          <a:bodyPr wrap="square" anchor="ctr"/>
          <a:lstStyle>
            <a:lvl1pPr algn="ctr">
              <a:lnSpc>
                <a:spcPct val="85000"/>
              </a:lnSpc>
              <a:defRPr sz="38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ext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144" y="608568"/>
            <a:ext cx="1153713" cy="8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4370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1F2D21-CB81-4BA0-A3F2-4B5AA3E993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E0CE40-9210-426F-80E8-5870038F87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3FBE39-172E-42A1-B63E-0B4AA1965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/>
          <a:p>
            <a:r>
              <a:rPr lang="en-US"/>
              <a:t>10th September 2019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946D3A-63C7-4022-8C42-C1F3755299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September 2019</a:t>
            </a:r>
          </a:p>
          <a:p>
            <a:r>
              <a:rPr lang="en-GB" dirty="0"/>
              <a:t>Imperial College Lond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9F8E3D-6182-4404-9333-356109B09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72654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10075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40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8" name="Gruppieren 27"/>
          <p:cNvGrpSpPr/>
          <p:nvPr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66072" y="4834086"/>
            <a:ext cx="2059858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0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uthor: John Doe</a:t>
            </a:r>
          </a:p>
        </p:txBody>
      </p:sp>
      <p:sp>
        <p:nvSpPr>
          <p:cNvPr id="41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2433370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9653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 baseline="0"/>
            </a:lvl1pPr>
          </a:lstStyle>
          <a:p>
            <a:r>
              <a:rPr lang="en-GB" noProof="0" dirty="0"/>
              <a:t>Click to edit Agenda Tex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5648"/>
            <a:ext cx="10800000" cy="203133"/>
          </a:xfrm>
        </p:spPr>
        <p:txBody>
          <a:bodyPr anchor="b">
            <a:sp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10800000" cy="3457575"/>
          </a:xfrm>
        </p:spPr>
        <p:txBody>
          <a:bodyPr/>
          <a:lstStyle>
            <a:lvl1pPr marL="252000" indent="-252000">
              <a:spcBef>
                <a:spcPts val="1000"/>
              </a:spcBef>
              <a:buSzPct val="100000"/>
              <a:buFont typeface="+mj-lt"/>
              <a:buAutoNum type="arabicPeriod"/>
              <a:defRPr sz="1800" baseline="0">
                <a:solidFill>
                  <a:schemeClr val="tx2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 marL="432000" indent="-180000">
              <a:spcBef>
                <a:spcPts val="100"/>
              </a:spcBef>
              <a:defRPr sz="1200" baseline="0">
                <a:solidFill>
                  <a:schemeClr val="tx2"/>
                </a:solidFill>
                <a:latin typeface="+mn-lt"/>
              </a:defRPr>
            </a:lvl2pPr>
            <a:lvl3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3pPr>
            <a:lvl4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4pPr>
            <a:lvl5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5pPr>
          </a:lstStyle>
          <a:p>
            <a:pPr lvl="0"/>
            <a:r>
              <a:rPr lang="en-GB" noProof="0" dirty="0"/>
              <a:t>Agenda Topic 1</a:t>
            </a:r>
          </a:p>
          <a:p>
            <a:pPr lvl="1"/>
            <a:r>
              <a:rPr lang="en-GB" noProof="0" dirty="0" err="1"/>
              <a:t>Subitem</a:t>
            </a:r>
            <a:r>
              <a:rPr lang="en-GB" noProof="0" dirty="0"/>
              <a:t> 1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September 2019</a:t>
            </a:r>
          </a:p>
          <a:p>
            <a:r>
              <a:rPr lang="en-GB" dirty="0"/>
              <a:t>Imperial College Lond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4375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856410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6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4" name="Gruppieren 23"/>
          <p:cNvGrpSpPr/>
          <p:nvPr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5" name="Gerader Verbinder 24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7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988949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890347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6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5" name="Gruppieren 24"/>
          <p:cNvGrpSpPr/>
          <p:nvPr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8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0904091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406572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0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9" name="Gruppieren 28"/>
          <p:cNvGrpSpPr/>
          <p:nvPr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/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95400" y="6427214"/>
            <a:ext cx="4716000" cy="123111"/>
          </a:xfrm>
        </p:spPr>
        <p:txBody>
          <a:bodyPr/>
          <a:lstStyle/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September 2019</a:t>
            </a:r>
          </a:p>
          <a:p>
            <a:r>
              <a:rPr lang="en-GB" dirty="0"/>
              <a:t>Imperial College Lond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2532700" y="6558848"/>
            <a:ext cx="1041400" cy="107722"/>
          </a:xfrm>
        </p:spPr>
        <p:txBody>
          <a:bodyPr/>
          <a:lstStyle/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Gerader Verbinder 9"/>
          <p:cNvCxnSpPr/>
          <p:nvPr/>
        </p:nvCxnSpPr>
        <p:spPr bwMode="gray">
          <a:xfrm>
            <a:off x="6954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2742825"/>
            <a:ext cx="4716000" cy="203133"/>
          </a:xfrm>
        </p:spPr>
        <p:txBody>
          <a:bodyPr wrap="square" anchor="b">
            <a:spAutoFit/>
          </a:bodyPr>
          <a:lstStyle>
            <a:lvl1pPr algn="ctr"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09600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84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495212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0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30" name="Gruppieren 29"/>
          <p:cNvGrpSpPr/>
          <p:nvPr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/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780600" y="6427214"/>
            <a:ext cx="4716000" cy="123111"/>
          </a:xfrm>
        </p:spPr>
        <p:txBody>
          <a:bodyPr/>
          <a:lstStyle/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September 2019</a:t>
            </a:r>
          </a:p>
          <a:p>
            <a:r>
              <a:rPr lang="en-GB" dirty="0"/>
              <a:t>Imperial College Lond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8617900" y="6558848"/>
            <a:ext cx="1041400" cy="107722"/>
          </a:xfrm>
        </p:spPr>
        <p:txBody>
          <a:bodyPr/>
          <a:lstStyle/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Gerader Verbinder 9"/>
          <p:cNvCxnSpPr/>
          <p:nvPr/>
        </p:nvCxnSpPr>
        <p:spPr bwMode="gray">
          <a:xfrm>
            <a:off x="67806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42825"/>
            <a:ext cx="4716000" cy="203133"/>
          </a:xfrm>
        </p:spPr>
        <p:txBody>
          <a:bodyPr wrap="square" anchor="b">
            <a:spAutoFit/>
          </a:bodyPr>
          <a:lstStyle>
            <a:lvl1pPr algn="ctr"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501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Image Left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33714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0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8" name="Gruppieren 27"/>
          <p:cNvGrpSpPr/>
          <p:nvPr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/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42825"/>
            <a:ext cx="4716000" cy="203133"/>
          </a:xfrm>
        </p:spPr>
        <p:txBody>
          <a:bodyPr anchor="b">
            <a:spAutoFit/>
          </a:bodyPr>
          <a:lstStyle>
            <a:lvl1pPr algn="ctr"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385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Imag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9929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30" name="Gruppieren 29"/>
          <p:cNvGrpSpPr/>
          <p:nvPr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/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32757"/>
            <a:ext cx="10800000" cy="203133"/>
          </a:xfrm>
        </p:spPr>
        <p:txBody>
          <a:bodyPr anchor="b">
            <a:sp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0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2600325"/>
            <a:ext cx="12192000" cy="3618836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September 2019</a:t>
            </a:r>
          </a:p>
          <a:p>
            <a:r>
              <a:rPr lang="en-GB" dirty="0"/>
              <a:t>Imperial College London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381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166859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23" imgW="344" imgH="345" progId="TCLayout.ActiveDocument.1">
                  <p:embed/>
                </p:oleObj>
              </mc:Choice>
              <mc:Fallback>
                <p:oleObj name="think-cell Folie" r:id="rId23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48" name="Gruppieren 47"/>
          <p:cNvGrpSpPr/>
          <p:nvPr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49" name="Gerader Verbinder 4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elplatzhalter 18"/>
          <p:cNvSpPr>
            <a:spLocks noGrp="1"/>
          </p:cNvSpPr>
          <p:nvPr>
            <p:ph type="title"/>
          </p:nvPr>
        </p:nvSpPr>
        <p:spPr bwMode="gray">
          <a:xfrm>
            <a:off x="695400" y="1484784"/>
            <a:ext cx="10800000" cy="41857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/>
              <a:t>Edit title format by clicking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idx="1"/>
          </p:nvPr>
        </p:nvSpPr>
        <p:spPr bwMode="gray">
          <a:xfrm>
            <a:off x="695400" y="2600326"/>
            <a:ext cx="10800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3"/>
          </p:nvPr>
        </p:nvSpPr>
        <p:spPr bwMode="gray">
          <a:xfrm>
            <a:off x="695400" y="6427214"/>
            <a:ext cx="1080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</a:lstStyle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September 2019</a:t>
            </a:r>
          </a:p>
          <a:p>
            <a:r>
              <a:rPr lang="en-GB" dirty="0"/>
              <a:t>Imperial College London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 bwMode="gray">
          <a:xfrm>
            <a:off x="5575300" y="6558848"/>
            <a:ext cx="10414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 cap="all" baseline="0">
                <a:solidFill>
                  <a:schemeClr val="accent1"/>
                </a:solidFill>
              </a:defRPr>
            </a:lvl1pPr>
          </a:lstStyle>
          <a:p>
            <a:fld id="{F2F3ED47-8E0E-4B59-B881-F37BA6270974}" type="slidenum">
              <a:rPr lang="en-GB" smtClean="0"/>
              <a:t>‹#›</a:t>
            </a:fld>
            <a:endParaRPr lang="en-GB"/>
          </a:p>
        </p:txBody>
      </p:sp>
      <p:cxnSp>
        <p:nvCxnSpPr>
          <p:cNvPr id="26" name="Gerader Verbinder 25"/>
          <p:cNvCxnSpPr/>
          <p:nvPr/>
        </p:nvCxnSpPr>
        <p:spPr bwMode="gray">
          <a:xfrm>
            <a:off x="695400" y="6219161"/>
            <a:ext cx="10800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3830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sldNum="0" hdr="0" ft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SzPct val="110000"/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288000" algn="l" defTabSz="914400" rtl="0" eaLnBrk="1" latinLnBrk="0" hangingPunct="1">
        <a:lnSpc>
          <a:spcPct val="110000"/>
        </a:lnSpc>
        <a:spcBef>
          <a:spcPts val="6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76000" indent="-288000" algn="l" defTabSz="914400" rtl="0" eaLnBrk="1" latinLnBrk="0" hangingPunct="1">
        <a:lnSpc>
          <a:spcPct val="110000"/>
        </a:lnSpc>
        <a:spcBef>
          <a:spcPts val="2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52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795">
          <p15:clr>
            <a:srgbClr val="F26B43"/>
          </p15:clr>
        </p15:guide>
        <p15:guide id="3" orient="horz" pos="1638">
          <p15:clr>
            <a:srgbClr val="F26B43"/>
          </p15:clr>
        </p15:guide>
        <p15:guide id="4" orient="horz" pos="3816">
          <p15:clr>
            <a:srgbClr val="F26B43"/>
          </p15:clr>
        </p15:guide>
        <p15:guide id="9" pos="7242">
          <p15:clr>
            <a:srgbClr val="F26B43"/>
          </p15:clr>
        </p15:guide>
        <p15:guide id="10" pos="438">
          <p15:clr>
            <a:srgbClr val="F26B43"/>
          </p15:clr>
        </p15:guide>
        <p15:guide id="13" pos="388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1.xml"/><Relationship Id="rId7" Type="http://schemas.openxmlformats.org/officeDocument/2006/relationships/slide" Target="slide30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slide" Target="slide32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8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18" Type="http://schemas.openxmlformats.org/officeDocument/2006/relationships/image" Target="../media/image7.png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17" Type="http://schemas.openxmlformats.org/officeDocument/2006/relationships/slide" Target="slide30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20" Type="http://schemas.openxmlformats.org/officeDocument/2006/relationships/slide" Target="slide32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19" Type="http://schemas.openxmlformats.org/officeDocument/2006/relationships/image" Target="../media/image8.svg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diagramLayout" Target="../diagrams/layout5.xml"/><Relationship Id="rId7" Type="http://schemas.openxmlformats.org/officeDocument/2006/relationships/image" Target="../media/image13.png"/><Relationship Id="rId12" Type="http://schemas.openxmlformats.org/officeDocument/2006/relationships/slide" Target="slide32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5.xml"/><Relationship Id="rId11" Type="http://schemas.openxmlformats.org/officeDocument/2006/relationships/image" Target="../media/image8.svg"/><Relationship Id="rId5" Type="http://schemas.openxmlformats.org/officeDocument/2006/relationships/diagramColors" Target="../diagrams/colors5.xml"/><Relationship Id="rId10" Type="http://schemas.openxmlformats.org/officeDocument/2006/relationships/image" Target="../media/image7.png"/><Relationship Id="rId4" Type="http://schemas.openxmlformats.org/officeDocument/2006/relationships/diagramQuickStyle" Target="../diagrams/quickStyle5.xml"/><Relationship Id="rId9" Type="http://schemas.openxmlformats.org/officeDocument/2006/relationships/slide" Target="slide3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6.xml"/><Relationship Id="rId7" Type="http://schemas.openxmlformats.org/officeDocument/2006/relationships/slide" Target="slide30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10" Type="http://schemas.openxmlformats.org/officeDocument/2006/relationships/slide" Target="slide32.xml"/><Relationship Id="rId4" Type="http://schemas.openxmlformats.org/officeDocument/2006/relationships/diagramQuickStyle" Target="../diagrams/quickStyle6.xml"/><Relationship Id="rId9" Type="http://schemas.openxmlformats.org/officeDocument/2006/relationships/image" Target="../media/image8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slide" Target="slide3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" Target="slide3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7.xml"/><Relationship Id="rId7" Type="http://schemas.openxmlformats.org/officeDocument/2006/relationships/slide" Target="slide30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10" Type="http://schemas.openxmlformats.org/officeDocument/2006/relationships/slide" Target="slide32.xml"/><Relationship Id="rId4" Type="http://schemas.openxmlformats.org/officeDocument/2006/relationships/diagramQuickStyle" Target="../diagrams/quickStyle7.xml"/><Relationship Id="rId9" Type="http://schemas.openxmlformats.org/officeDocument/2006/relationships/image" Target="../media/image8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Relationship Id="rId6" Type="http://schemas.openxmlformats.org/officeDocument/2006/relationships/slide" Target="slide3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8.xml"/><Relationship Id="rId7" Type="http://schemas.openxmlformats.org/officeDocument/2006/relationships/slide" Target="slide30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10" Type="http://schemas.openxmlformats.org/officeDocument/2006/relationships/slide" Target="slide32.xml"/><Relationship Id="rId4" Type="http://schemas.openxmlformats.org/officeDocument/2006/relationships/diagramQuickStyle" Target="../diagrams/quickStyle8.xml"/><Relationship Id="rId9" Type="http://schemas.openxmlformats.org/officeDocument/2006/relationships/image" Target="../media/image8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Relationship Id="rId6" Type="http://schemas.openxmlformats.org/officeDocument/2006/relationships/slide" Target="slide3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Relationship Id="rId6" Type="http://schemas.openxmlformats.org/officeDocument/2006/relationships/slide" Target="slide3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5.xml"/><Relationship Id="rId6" Type="http://schemas.openxmlformats.org/officeDocument/2006/relationships/slide" Target="slide3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Relationship Id="rId6" Type="http://schemas.openxmlformats.org/officeDocument/2006/relationships/slide" Target="slide3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" Target="slide30.xml"/><Relationship Id="rId1" Type="http://schemas.openxmlformats.org/officeDocument/2006/relationships/slideLayout" Target="../slideLayouts/slideLayout15.xml"/><Relationship Id="rId5" Type="http://schemas.openxmlformats.org/officeDocument/2006/relationships/slide" Target="slide32.xml"/><Relationship Id="rId4" Type="http://schemas.openxmlformats.org/officeDocument/2006/relationships/image" Target="../media/image8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" Target="slide30.xml"/><Relationship Id="rId1" Type="http://schemas.openxmlformats.org/officeDocument/2006/relationships/slideLayout" Target="../slideLayouts/slideLayout15.xml"/><Relationship Id="rId5" Type="http://schemas.openxmlformats.org/officeDocument/2006/relationships/slide" Target="slide32.xml"/><Relationship Id="rId4" Type="http://schemas.openxmlformats.org/officeDocument/2006/relationships/image" Target="../media/image8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" Target="slide32.xml"/><Relationship Id="rId3" Type="http://schemas.openxmlformats.org/officeDocument/2006/relationships/image" Target="../media/image29.PNG"/><Relationship Id="rId7" Type="http://schemas.openxmlformats.org/officeDocument/2006/relationships/image" Target="../media/image8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.png"/><Relationship Id="rId5" Type="http://schemas.openxmlformats.org/officeDocument/2006/relationships/slide" Target="slide30.xml"/><Relationship Id="rId4" Type="http://schemas.openxmlformats.org/officeDocument/2006/relationships/image" Target="../media/image3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9.xml"/><Relationship Id="rId7" Type="http://schemas.openxmlformats.org/officeDocument/2006/relationships/slide" Target="slide30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10" Type="http://schemas.openxmlformats.org/officeDocument/2006/relationships/slide" Target="slide32.xml"/><Relationship Id="rId4" Type="http://schemas.openxmlformats.org/officeDocument/2006/relationships/diagramQuickStyle" Target="../diagrams/quickStyle9.xml"/><Relationship Id="rId9" Type="http://schemas.openxmlformats.org/officeDocument/2006/relationships/image" Target="../media/image8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Relationship Id="rId6" Type="http://schemas.openxmlformats.org/officeDocument/2006/relationships/slide" Target="slide3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.xml"/><Relationship Id="rId6" Type="http://schemas.openxmlformats.org/officeDocument/2006/relationships/slide" Target="slide3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slide" Target="slide32.xm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" Target="slide3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" Target="slide3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10.xml"/><Relationship Id="rId7" Type="http://schemas.openxmlformats.org/officeDocument/2006/relationships/slide" Target="slide3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10" Type="http://schemas.openxmlformats.org/officeDocument/2006/relationships/slide" Target="slide32.xml"/><Relationship Id="rId4" Type="http://schemas.openxmlformats.org/officeDocument/2006/relationships/diagramQuickStyle" Target="../diagrams/quickStyle10.xml"/><Relationship Id="rId9" Type="http://schemas.openxmlformats.org/officeDocument/2006/relationships/image" Target="../media/image8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slide" Target="slide9.xml"/><Relationship Id="rId18" Type="http://schemas.openxmlformats.org/officeDocument/2006/relationships/slide" Target="slide29.xml"/><Relationship Id="rId3" Type="http://schemas.openxmlformats.org/officeDocument/2006/relationships/image" Target="../media/image36.png"/><Relationship Id="rId21" Type="http://schemas.openxmlformats.org/officeDocument/2006/relationships/slide" Target="slide39.xml"/><Relationship Id="rId7" Type="http://schemas.openxmlformats.org/officeDocument/2006/relationships/image" Target="../media/image40.png"/><Relationship Id="rId12" Type="http://schemas.openxmlformats.org/officeDocument/2006/relationships/slide" Target="slide3.xml"/><Relationship Id="rId17" Type="http://schemas.openxmlformats.org/officeDocument/2006/relationships/slide" Target="slide25.xml"/><Relationship Id="rId2" Type="http://schemas.openxmlformats.org/officeDocument/2006/relationships/image" Target="../media/image35.png"/><Relationship Id="rId16" Type="http://schemas.openxmlformats.org/officeDocument/2006/relationships/slide" Target="slide17.xml"/><Relationship Id="rId20" Type="http://schemas.openxmlformats.org/officeDocument/2006/relationships/slide" Target="slide3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slide" Target="slide15.xml"/><Relationship Id="rId10" Type="http://schemas.openxmlformats.org/officeDocument/2006/relationships/image" Target="../media/image43.png"/><Relationship Id="rId19" Type="http://schemas.openxmlformats.org/officeDocument/2006/relationships/slide" Target="slide33.xml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slide" Target="slide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7" Type="http://schemas.openxmlformats.org/officeDocument/2006/relationships/slide" Target="slide32.xm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6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slide" Target="slide32.xml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" Target="slide3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slide" Target="slide32.xm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" Target="slide30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11.xml"/><Relationship Id="rId7" Type="http://schemas.openxmlformats.org/officeDocument/2006/relationships/slide" Target="slide30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10" Type="http://schemas.openxmlformats.org/officeDocument/2006/relationships/slide" Target="slide32.xml"/><Relationship Id="rId4" Type="http://schemas.openxmlformats.org/officeDocument/2006/relationships/diagramQuickStyle" Target="../diagrams/quickStyle11.xml"/><Relationship Id="rId9" Type="http://schemas.openxmlformats.org/officeDocument/2006/relationships/image" Target="../media/image8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5.xml"/><Relationship Id="rId6" Type="http://schemas.openxmlformats.org/officeDocument/2006/relationships/slide" Target="slide3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" Target="slide30.xml"/><Relationship Id="rId1" Type="http://schemas.openxmlformats.org/officeDocument/2006/relationships/slideLayout" Target="../slideLayouts/slideLayout11.xml"/><Relationship Id="rId5" Type="http://schemas.openxmlformats.org/officeDocument/2006/relationships/slide" Target="slide32.xml"/><Relationship Id="rId4" Type="http://schemas.openxmlformats.org/officeDocument/2006/relationships/image" Target="../media/image8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" Target="slide30.xml"/><Relationship Id="rId1" Type="http://schemas.openxmlformats.org/officeDocument/2006/relationships/slideLayout" Target="../slideLayouts/slideLayout11.xml"/><Relationship Id="rId5" Type="http://schemas.openxmlformats.org/officeDocument/2006/relationships/slide" Target="slide32.xml"/><Relationship Id="rId4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8.xml"/><Relationship Id="rId7" Type="http://schemas.openxmlformats.org/officeDocument/2006/relationships/slide" Target="slide3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sv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slide" Target="slide32.xml"/><Relationship Id="rId3" Type="http://schemas.openxmlformats.org/officeDocument/2006/relationships/image" Target="../media/image53.PNG"/><Relationship Id="rId7" Type="http://schemas.openxmlformats.org/officeDocument/2006/relationships/image" Target="../media/image8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.png"/><Relationship Id="rId5" Type="http://schemas.openxmlformats.org/officeDocument/2006/relationships/slide" Target="slide30.xml"/><Relationship Id="rId4" Type="http://schemas.openxmlformats.org/officeDocument/2006/relationships/image" Target="../media/image5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" Target="slide30.xml"/><Relationship Id="rId1" Type="http://schemas.openxmlformats.org/officeDocument/2006/relationships/slideLayout" Target="../slideLayouts/slideLayout15.xml"/><Relationship Id="rId6" Type="http://schemas.openxmlformats.org/officeDocument/2006/relationships/slide" Target="slide32.xml"/><Relationship Id="rId5" Type="http://schemas.openxmlformats.org/officeDocument/2006/relationships/image" Target="../media/image55.png"/><Relationship Id="rId4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slide" Target="slide32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" Target="slide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slide" Target="slide3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" Target="slide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6" Type="http://schemas.openxmlformats.org/officeDocument/2006/relationships/slide" Target="slide3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6" Type="http://schemas.openxmlformats.org/officeDocument/2006/relationships/slide" Target="slide3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" Target="slide3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1D268887-081A-4E63-B450-4FEDF1BC4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2A60485-19E0-4BC8-B140-5C251C7A366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365860" y="4647236"/>
            <a:ext cx="5460275" cy="236537"/>
          </a:xfrm>
        </p:spPr>
        <p:txBody>
          <a:bodyPr/>
          <a:lstStyle/>
          <a:p>
            <a:pPr algn="ctr"/>
            <a:r>
              <a:rPr lang="en-GB" dirty="0">
                <a:solidFill>
                  <a:schemeClr val="accent3"/>
                </a:solidFill>
              </a:rPr>
              <a:t>MSc Applied Computational Sciences and Engineering</a:t>
            </a:r>
          </a:p>
          <a:p>
            <a:pPr algn="ctr"/>
            <a:r>
              <a:rPr lang="en-GB" dirty="0">
                <a:solidFill>
                  <a:schemeClr val="accent3"/>
                </a:solidFill>
              </a:rPr>
              <a:t>Imperial College London</a:t>
            </a:r>
          </a:p>
          <a:p>
            <a:pPr algn="ctr"/>
            <a:r>
              <a:rPr lang="en-GB" dirty="0">
                <a:solidFill>
                  <a:schemeClr val="accent3"/>
                </a:solidFill>
              </a:rPr>
              <a:t>10/09/2019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2A0AE62-4BBF-41E5-A909-0E04165B63E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48432" y="5563841"/>
            <a:ext cx="1295129" cy="236538"/>
          </a:xfrm>
        </p:spPr>
        <p:txBody>
          <a:bodyPr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Deirdree A Polak</a:t>
            </a:r>
          </a:p>
          <a:p>
            <a:pPr algn="ctr"/>
            <a:r>
              <a:rPr lang="en-GB" dirty="0">
                <a:solidFill>
                  <a:schemeClr val="bg1"/>
                </a:solidFill>
              </a:rPr>
              <a:t>CID: 00973185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AA4A45-D1F7-4B6B-8D1C-CC1530C545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122" b="94065" l="1172" r="99297">
                        <a14:foregroundMark x1="7578" y1="20475" x2="7578" y2="20475"/>
                        <a14:foregroundMark x1="3828" y1="32047" x2="3828" y2="32047"/>
                        <a14:foregroundMark x1="1172" y1="20475" x2="1172" y2="20475"/>
                        <a14:foregroundMark x1="25703" y1="38279" x2="25703" y2="38279"/>
                        <a14:foregroundMark x1="22031" y1="29377" x2="22031" y2="29377"/>
                        <a14:foregroundMark x1="32734" y1="21662" x2="32734" y2="21662"/>
                        <a14:foregroundMark x1="38125" y1="21662" x2="38125" y2="21662"/>
                        <a14:foregroundMark x1="37813" y1="7715" x2="37813" y2="7715"/>
                        <a14:foregroundMark x1="45234" y1="25519" x2="45234" y2="25519"/>
                        <a14:foregroundMark x1="48203" y1="25519" x2="48203" y2="25519"/>
                        <a14:foregroundMark x1="55313" y1="19288" x2="55313" y2="19288"/>
                        <a14:foregroundMark x1="64063" y1="26706" x2="64063" y2="26706"/>
                        <a14:foregroundMark x1="72734" y1="20475" x2="72734" y2="20475"/>
                        <a14:foregroundMark x1="76484" y1="20475" x2="76484" y2="20475"/>
                        <a14:foregroundMark x1="78125" y1="29377" x2="78125" y2="29377"/>
                        <a14:foregroundMark x1="89609" y1="37092" x2="89609" y2="37092"/>
                        <a14:foregroundMark x1="94922" y1="24332" x2="94922" y2="24332"/>
                        <a14:foregroundMark x1="2813" y1="94362" x2="2813" y2="94362"/>
                        <a14:foregroundMark x1="7187" y1="85460" x2="7187" y2="85460"/>
                        <a14:foregroundMark x1="16953" y1="80415" x2="16953" y2="80415"/>
                        <a14:foregroundMark x1="31719" y1="81602" x2="31719" y2="81602"/>
                        <a14:foregroundMark x1="34766" y1="83086" x2="34766" y2="83086"/>
                        <a14:foregroundMark x1="43203" y1="79228" x2="43203" y2="79228"/>
                        <a14:foregroundMark x1="99297" y1="20772" x2="99297" y2="2077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31" y="5970416"/>
            <a:ext cx="2832993" cy="745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4018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0451DDC-5987-4BA4-B3EB-AEAB8694A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0600" y="3081802"/>
            <a:ext cx="4716000" cy="788293"/>
          </a:xfrm>
        </p:spPr>
        <p:txBody>
          <a:bodyPr/>
          <a:lstStyle/>
          <a:p>
            <a:r>
              <a:rPr lang="en-GB" dirty="0"/>
              <a:t>Slug detection </a:t>
            </a:r>
            <a:br>
              <a:rPr lang="en-GB" dirty="0"/>
            </a:br>
            <a:r>
              <a:rPr lang="en-GB" dirty="0"/>
              <a:t>python pack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2AA5BA-E3C4-46FF-8771-59D52EED2C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80600" y="2752956"/>
            <a:ext cx="4716000" cy="193002"/>
          </a:xfrm>
        </p:spPr>
        <p:txBody>
          <a:bodyPr/>
          <a:lstStyle/>
          <a:p>
            <a:r>
              <a:rPr lang="en-GB" dirty="0"/>
              <a:t>Overview</a:t>
            </a:r>
          </a:p>
        </p:txBody>
      </p:sp>
      <p:graphicFrame>
        <p:nvGraphicFramePr>
          <p:cNvPr id="11" name="Picture Placeholder 10">
            <a:extLst>
              <a:ext uri="{FF2B5EF4-FFF2-40B4-BE49-F238E27FC236}">
                <a16:creationId xmlns:a16="http://schemas.microsoft.com/office/drawing/2014/main" id="{AB1DF5A4-D587-444A-A58C-EB9205B7A6B6}"/>
              </a:ext>
            </a:extLst>
          </p:cNvPr>
          <p:cNvGraphicFramePr>
            <a:graphicFrameLocks noGrp="1"/>
          </p:cNvGraphicFramePr>
          <p:nvPr>
            <p:ph type="pic" sz="quarter" idx="13"/>
            <p:extLst>
              <p:ext uri="{D42A27DB-BD31-4B8C-83A1-F6EECF244321}">
                <p14:modId xmlns:p14="http://schemas.microsoft.com/office/powerpoint/2010/main" val="2515386893"/>
              </p:ext>
            </p:extLst>
          </p:nvPr>
        </p:nvGraphicFramePr>
        <p:xfrm>
          <a:off x="139336" y="0"/>
          <a:ext cx="6096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Graphic 4" descr="Gauge">
            <a:hlinkClick r:id="rId7" action="ppaction://hlinksldjump"/>
            <a:extLst>
              <a:ext uri="{FF2B5EF4-FFF2-40B4-BE49-F238E27FC236}">
                <a16:creationId xmlns:a16="http://schemas.microsoft.com/office/drawing/2014/main" id="{B2875F90-B570-4EF7-8F69-D6C56B523D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6" name="TextBox 5">
            <a:hlinkClick r:id="rId10" action="ppaction://hlinksldjump"/>
            <a:extLst>
              <a:ext uri="{FF2B5EF4-FFF2-40B4-BE49-F238E27FC236}">
                <a16:creationId xmlns:a16="http://schemas.microsoft.com/office/drawing/2014/main" id="{1DEDF4BA-4455-4DB3-B000-C48D8F110549}"/>
              </a:ext>
            </a:extLst>
          </p:cNvPr>
          <p:cNvSpPr txBox="1"/>
          <p:nvPr/>
        </p:nvSpPr>
        <p:spPr>
          <a:xfrm>
            <a:off x="8768426" y="256622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1148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16136CF-C906-4FB8-9D83-B78E6A701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 engineer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5CC0D91-CFCF-49A4-BF74-422EE02DE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  <a:p>
            <a:endParaRPr lang="en-GB" dirty="0"/>
          </a:p>
        </p:txBody>
      </p:sp>
      <p:graphicFrame>
        <p:nvGraphicFramePr>
          <p:cNvPr id="22" name="Picture Placeholder 21">
            <a:extLst>
              <a:ext uri="{FF2B5EF4-FFF2-40B4-BE49-F238E27FC236}">
                <a16:creationId xmlns:a16="http://schemas.microsoft.com/office/drawing/2014/main" id="{AF8D0D32-5A22-4727-981B-65A6DF3ABE17}"/>
              </a:ext>
            </a:extLst>
          </p:cNvPr>
          <p:cNvGraphicFramePr>
            <a:graphicFrameLocks noGrp="1"/>
          </p:cNvGraphicFramePr>
          <p:nvPr>
            <p:ph type="pic" sz="quarter" idx="13"/>
            <p:extLst>
              <p:ext uri="{D42A27DB-BD31-4B8C-83A1-F6EECF244321}">
                <p14:modId xmlns:p14="http://schemas.microsoft.com/office/powerpoint/2010/main" val="1754126380"/>
              </p:ext>
            </p:extLst>
          </p:nvPr>
        </p:nvGraphicFramePr>
        <p:xfrm>
          <a:off x="695325" y="2600325"/>
          <a:ext cx="3527425" cy="3457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4" name="Picture Placeholder 23">
            <a:extLst>
              <a:ext uri="{FF2B5EF4-FFF2-40B4-BE49-F238E27FC236}">
                <a16:creationId xmlns:a16="http://schemas.microsoft.com/office/drawing/2014/main" id="{74BE1B39-9D94-43A9-857D-9E6319B49916}"/>
              </a:ext>
            </a:extLst>
          </p:cNvPr>
          <p:cNvGraphicFramePr>
            <a:graphicFrameLocks noGrp="1"/>
          </p:cNvGraphicFramePr>
          <p:nvPr>
            <p:ph type="pic" sz="quarter" idx="14"/>
            <p:extLst>
              <p:ext uri="{D42A27DB-BD31-4B8C-83A1-F6EECF244321}">
                <p14:modId xmlns:p14="http://schemas.microsoft.com/office/powerpoint/2010/main" val="3758253368"/>
              </p:ext>
            </p:extLst>
          </p:nvPr>
        </p:nvGraphicFramePr>
        <p:xfrm>
          <a:off x="4332288" y="2600325"/>
          <a:ext cx="3527425" cy="3457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25" name="Picture Placeholder 24">
            <a:extLst>
              <a:ext uri="{FF2B5EF4-FFF2-40B4-BE49-F238E27FC236}">
                <a16:creationId xmlns:a16="http://schemas.microsoft.com/office/drawing/2014/main" id="{13A511AD-AF31-407C-8C8B-DEDE25B90758}"/>
              </a:ext>
            </a:extLst>
          </p:cNvPr>
          <p:cNvGraphicFramePr>
            <a:graphicFrameLocks noGrp="1"/>
          </p:cNvGraphicFramePr>
          <p:nvPr>
            <p:ph type="pic" sz="quarter" idx="15"/>
            <p:extLst>
              <p:ext uri="{D42A27DB-BD31-4B8C-83A1-F6EECF244321}">
                <p14:modId xmlns:p14="http://schemas.microsoft.com/office/powerpoint/2010/main" val="1507027526"/>
              </p:ext>
            </p:extLst>
          </p:nvPr>
        </p:nvGraphicFramePr>
        <p:xfrm>
          <a:off x="7967663" y="2600325"/>
          <a:ext cx="3529012" cy="3457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AABC07D-E206-4FC8-BA71-343AEB07A78C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8" name="Graphic 7" descr="Gauge">
            <a:hlinkClick r:id="rId17" action="ppaction://hlinksldjump"/>
            <a:extLst>
              <a:ext uri="{FF2B5EF4-FFF2-40B4-BE49-F238E27FC236}">
                <a16:creationId xmlns:a16="http://schemas.microsoft.com/office/drawing/2014/main" id="{A3F7BB35-2F50-43CD-A52F-D9B26187D3B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9" name="TextBox 8">
            <a:hlinkClick r:id="rId20" action="ppaction://hlinksldjump"/>
            <a:extLst>
              <a:ext uri="{FF2B5EF4-FFF2-40B4-BE49-F238E27FC236}">
                <a16:creationId xmlns:a16="http://schemas.microsoft.com/office/drawing/2014/main" id="{B5FD397E-BAB2-4C0A-A38C-EC6226C5D7FC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664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4" grpId="0">
        <p:bldAsOne/>
      </p:bldGraphic>
      <p:bldGraphic spid="25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C2D4564-3B7A-4F85-8F19-726FCCF4D1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Detection Python Package BUIL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8F8B4B-B66F-4CD4-87AB-7073BE9438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5400" y="1291782"/>
            <a:ext cx="10800000" cy="193002"/>
          </a:xfrm>
        </p:spPr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graphicFrame>
        <p:nvGraphicFramePr>
          <p:cNvPr id="15" name="Picture Placeholder 14">
            <a:extLst>
              <a:ext uri="{FF2B5EF4-FFF2-40B4-BE49-F238E27FC236}">
                <a16:creationId xmlns:a16="http://schemas.microsoft.com/office/drawing/2014/main" id="{DBDA3A88-0A09-42BF-8239-DECCE18228DB}"/>
              </a:ext>
            </a:extLst>
          </p:cNvPr>
          <p:cNvGraphicFramePr>
            <a:graphicFrameLocks noGrp="1"/>
          </p:cNvGraphicFramePr>
          <p:nvPr>
            <p:ph type="pic" sz="quarter" idx="13"/>
            <p:extLst>
              <p:ext uri="{D42A27DB-BD31-4B8C-83A1-F6EECF244321}">
                <p14:modId xmlns:p14="http://schemas.microsoft.com/office/powerpoint/2010/main" val="2604096487"/>
              </p:ext>
            </p:extLst>
          </p:nvPr>
        </p:nvGraphicFramePr>
        <p:xfrm>
          <a:off x="62752" y="1219200"/>
          <a:ext cx="12129247" cy="5476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7" name="Graphic 16" descr="Medal">
            <a:extLst>
              <a:ext uri="{FF2B5EF4-FFF2-40B4-BE49-F238E27FC236}">
                <a16:creationId xmlns:a16="http://schemas.microsoft.com/office/drawing/2014/main" id="{564C56A0-3D6A-42F8-BCD2-D736B4413E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305075" y="4651818"/>
            <a:ext cx="914400" cy="914400"/>
          </a:xfrm>
          <a:prstGeom prst="rect">
            <a:avLst/>
          </a:prstGeom>
        </p:spPr>
      </p:pic>
      <p:pic>
        <p:nvPicPr>
          <p:cNvPr id="18" name="Graphic 17" descr="Medal">
            <a:extLst>
              <a:ext uri="{FF2B5EF4-FFF2-40B4-BE49-F238E27FC236}">
                <a16:creationId xmlns:a16="http://schemas.microsoft.com/office/drawing/2014/main" id="{70D852CB-18FC-465F-AA9C-5AF96F78F2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20597" y="3737418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75A068C-9306-4569-92D5-7F9FDD2D2191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8" name="Graphic 7" descr="Gauge">
            <a:hlinkClick r:id="rId9" action="ppaction://hlinksldjump"/>
            <a:extLst>
              <a:ext uri="{FF2B5EF4-FFF2-40B4-BE49-F238E27FC236}">
                <a16:creationId xmlns:a16="http://schemas.microsoft.com/office/drawing/2014/main" id="{265A76DC-0C8B-4E4C-B55A-1CD3B9CD7F3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10" name="TextBox 9">
            <a:hlinkClick r:id="rId12" action="ppaction://hlinksldjump"/>
            <a:extLst>
              <a:ext uri="{FF2B5EF4-FFF2-40B4-BE49-F238E27FC236}">
                <a16:creationId xmlns:a16="http://schemas.microsoft.com/office/drawing/2014/main" id="{AAEE05A0-E6D0-4A14-8AEE-D9CBC19B6204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053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09A69D24-EF49-4FEC-A22B-EB08580E8A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Labell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40BC80-9FC4-490F-B380-A9721A1EAB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5400" y="1242888"/>
            <a:ext cx="10800000" cy="193002"/>
          </a:xfrm>
        </p:spPr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graphicFrame>
        <p:nvGraphicFramePr>
          <p:cNvPr id="15" name="Picture Placeholder 14">
            <a:extLst>
              <a:ext uri="{FF2B5EF4-FFF2-40B4-BE49-F238E27FC236}">
                <a16:creationId xmlns:a16="http://schemas.microsoft.com/office/drawing/2014/main" id="{6CFB3864-98C2-4C40-B5A6-B11944880210}"/>
              </a:ext>
            </a:extLst>
          </p:cNvPr>
          <p:cNvGraphicFramePr>
            <a:graphicFrameLocks noGrp="1"/>
          </p:cNvGraphicFramePr>
          <p:nvPr>
            <p:ph type="pic" sz="quarter" idx="13"/>
            <p:extLst>
              <p:ext uri="{D42A27DB-BD31-4B8C-83A1-F6EECF244321}">
                <p14:modId xmlns:p14="http://schemas.microsoft.com/office/powerpoint/2010/main" val="1385828970"/>
              </p:ext>
            </p:extLst>
          </p:nvPr>
        </p:nvGraphicFramePr>
        <p:xfrm>
          <a:off x="695400" y="1952254"/>
          <a:ext cx="9815846" cy="45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A035243-BEC4-4E6D-AD77-B0C9D9DC5BF0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6" name="Graphic 5" descr="Gauge">
            <a:hlinkClick r:id="rId7" action="ppaction://hlinksldjump"/>
            <a:extLst>
              <a:ext uri="{FF2B5EF4-FFF2-40B4-BE49-F238E27FC236}">
                <a16:creationId xmlns:a16="http://schemas.microsoft.com/office/drawing/2014/main" id="{50858A73-474A-4402-9B08-7F6AB0CFF2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7" name="TextBox 6">
            <a:hlinkClick r:id="rId10" action="ppaction://hlinksldjump"/>
            <a:extLst>
              <a:ext uri="{FF2B5EF4-FFF2-40B4-BE49-F238E27FC236}">
                <a16:creationId xmlns:a16="http://schemas.microsoft.com/office/drawing/2014/main" id="{69DFF0D1-2213-4E04-B789-6767DBB5923A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7039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EFD43FC-C418-4428-B16F-58D6D6F24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Labelling Resul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66C66A-B2A7-45FD-8280-1BDAF9BE39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3B65039-7D7F-4518-BE82-B091B4E25C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endParaRPr lang="en-GB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b="1" dirty="0"/>
              <a:t>Feature Vectors: </a:t>
            </a:r>
            <a:r>
              <a:rPr lang="en-GB" dirty="0"/>
              <a:t>full data set for a 5, 20 and 40 minutes window</a:t>
            </a:r>
          </a:p>
          <a:p>
            <a:pPr lvl="0"/>
            <a:endParaRPr lang="en-GB" dirty="0"/>
          </a:p>
          <a:p>
            <a:pPr lvl="0"/>
            <a:endParaRPr lang="en-GB" dirty="0"/>
          </a:p>
          <a:p>
            <a:endParaRPr lang="en-GB" dirty="0"/>
          </a:p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Lessons Learnt:</a:t>
            </a:r>
          </a:p>
          <a:p>
            <a:pPr lvl="2"/>
            <a:r>
              <a:rPr lang="en-GB" dirty="0"/>
              <a:t>Unsupervised learning does not highlight slug or pre-slug behaviour</a:t>
            </a:r>
          </a:p>
          <a:p>
            <a:pPr lvl="2"/>
            <a:r>
              <a:rPr lang="en-GB" dirty="0"/>
              <a:t>Choked behaviour results in discontinuity in the data, and heavily interferes with results.</a:t>
            </a:r>
          </a:p>
          <a:p>
            <a:pPr lvl="1"/>
            <a:endParaRPr lang="en-GB" dirty="0"/>
          </a:p>
          <a:p>
            <a:endParaRPr lang="en-GB" dirty="0"/>
          </a:p>
        </p:txBody>
      </p: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BAF27DFA-887F-463B-94B3-787D2852E2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453531"/>
              </p:ext>
            </p:extLst>
          </p:nvPr>
        </p:nvGraphicFramePr>
        <p:xfrm>
          <a:off x="694421" y="3291840"/>
          <a:ext cx="5868000" cy="2743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33500">
                  <a:extLst>
                    <a:ext uri="{9D8B030D-6E8A-4147-A177-3AD203B41FA5}">
                      <a16:colId xmlns:a16="http://schemas.microsoft.com/office/drawing/2014/main" val="1699126596"/>
                    </a:ext>
                  </a:extLst>
                </a:gridCol>
                <a:gridCol w="733500">
                  <a:extLst>
                    <a:ext uri="{9D8B030D-6E8A-4147-A177-3AD203B41FA5}">
                      <a16:colId xmlns:a16="http://schemas.microsoft.com/office/drawing/2014/main" val="3529787942"/>
                    </a:ext>
                  </a:extLst>
                </a:gridCol>
                <a:gridCol w="733500">
                  <a:extLst>
                    <a:ext uri="{9D8B030D-6E8A-4147-A177-3AD203B41FA5}">
                      <a16:colId xmlns:a16="http://schemas.microsoft.com/office/drawing/2014/main" val="2316139044"/>
                    </a:ext>
                  </a:extLst>
                </a:gridCol>
                <a:gridCol w="733500">
                  <a:extLst>
                    <a:ext uri="{9D8B030D-6E8A-4147-A177-3AD203B41FA5}">
                      <a16:colId xmlns:a16="http://schemas.microsoft.com/office/drawing/2014/main" val="4123448578"/>
                    </a:ext>
                  </a:extLst>
                </a:gridCol>
                <a:gridCol w="733500">
                  <a:extLst>
                    <a:ext uri="{9D8B030D-6E8A-4147-A177-3AD203B41FA5}">
                      <a16:colId xmlns:a16="http://schemas.microsoft.com/office/drawing/2014/main" val="3753126648"/>
                    </a:ext>
                  </a:extLst>
                </a:gridCol>
                <a:gridCol w="733500">
                  <a:extLst>
                    <a:ext uri="{9D8B030D-6E8A-4147-A177-3AD203B41FA5}">
                      <a16:colId xmlns:a16="http://schemas.microsoft.com/office/drawing/2014/main" val="1788498796"/>
                    </a:ext>
                  </a:extLst>
                </a:gridCol>
                <a:gridCol w="733500">
                  <a:extLst>
                    <a:ext uri="{9D8B030D-6E8A-4147-A177-3AD203B41FA5}">
                      <a16:colId xmlns:a16="http://schemas.microsoft.com/office/drawing/2014/main" val="3229828847"/>
                    </a:ext>
                  </a:extLst>
                </a:gridCol>
                <a:gridCol w="733500">
                  <a:extLst>
                    <a:ext uri="{9D8B030D-6E8A-4147-A177-3AD203B41FA5}">
                      <a16:colId xmlns:a16="http://schemas.microsoft.com/office/drawing/2014/main" val="3438408966"/>
                    </a:ext>
                  </a:extLst>
                </a:gridCol>
              </a:tblGrid>
              <a:tr h="247581">
                <a:tc>
                  <a:txBody>
                    <a:bodyPr/>
                    <a:lstStyle/>
                    <a:p>
                      <a:r>
                        <a:rPr lang="en-GB" sz="1200" dirty="0"/>
                        <a:t>WHP_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WHP_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WHP_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WHP_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WHP_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DHP_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3404465"/>
                  </a:ext>
                </a:extLst>
              </a:tr>
            </a:tbl>
          </a:graphicData>
        </a:graphic>
      </p:graphicFrame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B8561AE4-706B-4E80-8A9A-F872F1D419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07088" y="1903360"/>
            <a:ext cx="4788000" cy="3457575"/>
          </a:xfrm>
        </p:spPr>
      </p:sp>
      <p:pic>
        <p:nvPicPr>
          <p:cNvPr id="55" name="Picture Placeholder 33">
            <a:extLst>
              <a:ext uri="{FF2B5EF4-FFF2-40B4-BE49-F238E27FC236}">
                <a16:creationId xmlns:a16="http://schemas.microsoft.com/office/drawing/2014/main" id="{1436C36C-B7DA-4A2A-A06A-3A46BEC9A6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707188" y="2209325"/>
            <a:ext cx="4787900" cy="2872739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76F4EB0-879A-4C4D-973C-834EF0B60C65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9" name="Graphic 8" descr="Gauge">
            <a:hlinkClick r:id="rId4" action="ppaction://hlinksldjump"/>
            <a:extLst>
              <a:ext uri="{FF2B5EF4-FFF2-40B4-BE49-F238E27FC236}">
                <a16:creationId xmlns:a16="http://schemas.microsoft.com/office/drawing/2014/main" id="{08A670F9-DF7F-4F3D-8C67-DB8DBB85A6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10" name="TextBox 9">
            <a:hlinkClick r:id="rId7" action="ppaction://hlinksldjump"/>
            <a:extLst>
              <a:ext uri="{FF2B5EF4-FFF2-40B4-BE49-F238E27FC236}">
                <a16:creationId xmlns:a16="http://schemas.microsoft.com/office/drawing/2014/main" id="{CA24E410-D7B9-4496-9770-BF64762B2467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86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05339912-8783-4B8F-8AFB-B2DB0A923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LOW RECOGN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6050E8D-2746-4DE8-8008-BB9CCDF076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5400" y="1242888"/>
            <a:ext cx="10800000" cy="193002"/>
          </a:xfrm>
        </p:spPr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graphicFrame>
        <p:nvGraphicFramePr>
          <p:cNvPr id="15" name="Picture Placeholder 14">
            <a:extLst>
              <a:ext uri="{FF2B5EF4-FFF2-40B4-BE49-F238E27FC236}">
                <a16:creationId xmlns:a16="http://schemas.microsoft.com/office/drawing/2014/main" id="{809F0C2B-0C54-44E9-9B88-2BB4AAF28AE8}"/>
              </a:ext>
            </a:extLst>
          </p:cNvPr>
          <p:cNvGraphicFramePr>
            <a:graphicFrameLocks noGrp="1"/>
          </p:cNvGraphicFramePr>
          <p:nvPr>
            <p:ph type="pic" sz="quarter" idx="13"/>
            <p:extLst>
              <p:ext uri="{D42A27DB-BD31-4B8C-83A1-F6EECF244321}">
                <p14:modId xmlns:p14="http://schemas.microsoft.com/office/powerpoint/2010/main" val="2363029228"/>
              </p:ext>
            </p:extLst>
          </p:nvPr>
        </p:nvGraphicFramePr>
        <p:xfrm>
          <a:off x="130028" y="1952254"/>
          <a:ext cx="11930743" cy="45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1B9C191-A2E8-4093-8BAF-CA89C42FBBC7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6" name="Graphic 5" descr="Gauge">
            <a:hlinkClick r:id="rId7" action="ppaction://hlinksldjump"/>
            <a:extLst>
              <a:ext uri="{FF2B5EF4-FFF2-40B4-BE49-F238E27FC236}">
                <a16:creationId xmlns:a16="http://schemas.microsoft.com/office/drawing/2014/main" id="{811AC1EA-5097-43EF-8A38-760B97597DF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7" name="TextBox 6">
            <a:hlinkClick r:id="rId10" action="ppaction://hlinksldjump"/>
            <a:extLst>
              <a:ext uri="{FF2B5EF4-FFF2-40B4-BE49-F238E27FC236}">
                <a16:creationId xmlns:a16="http://schemas.microsoft.com/office/drawing/2014/main" id="{C4A7BDAB-A579-448C-AAB0-891E54C98F63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6657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EFD43FC-C418-4428-B16F-58D6D6F24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low Recognition Resul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66C66A-B2A7-45FD-8280-1BDAF9BE39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3B65039-7D7F-4518-BE82-B091B4E25C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400" y="2600325"/>
            <a:ext cx="5868000" cy="3457575"/>
          </a:xfrm>
        </p:spPr>
        <p:txBody>
          <a:bodyPr/>
          <a:lstStyle/>
          <a:p>
            <a:pPr lvl="0"/>
            <a:endParaRPr lang="en-GB" dirty="0"/>
          </a:p>
          <a:p>
            <a:pPr lvl="0"/>
            <a:r>
              <a:rPr lang="en-GB" b="1" dirty="0"/>
              <a:t>Lessons Learnt:</a:t>
            </a:r>
          </a:p>
          <a:p>
            <a:pPr lvl="1"/>
            <a:r>
              <a:rPr lang="en-GB" dirty="0"/>
              <a:t>Labelling method is weak (normal flow over labelled)</a:t>
            </a:r>
          </a:p>
          <a:p>
            <a:pPr lvl="1"/>
            <a:r>
              <a:rPr lang="en-GB" dirty="0"/>
              <a:t>Classifiers overwhelmed by number of labels</a:t>
            </a:r>
          </a:p>
          <a:p>
            <a:pPr lvl="1"/>
            <a:r>
              <a:rPr lang="en-GB" dirty="0"/>
              <a:t>Feature vectors ineffective at reflecting flow qualities.</a:t>
            </a:r>
          </a:p>
          <a:p>
            <a:endParaRPr lang="en-GB" dirty="0"/>
          </a:p>
        </p:txBody>
      </p:sp>
      <p:pic>
        <p:nvPicPr>
          <p:cNvPr id="20" name="Picture Placeholder 6">
            <a:extLst>
              <a:ext uri="{FF2B5EF4-FFF2-40B4-BE49-F238E27FC236}">
                <a16:creationId xmlns:a16="http://schemas.microsoft.com/office/drawing/2014/main" id="{B9B680CE-763A-4293-9818-47EDE07D17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39183" y="1484784"/>
            <a:ext cx="6097488" cy="4573116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C223677-2B8E-404A-BA54-230ADD289894}"/>
              </a:ext>
            </a:extLst>
          </p:cNvPr>
          <p:cNvSpPr txBox="1"/>
          <p:nvPr/>
        </p:nvSpPr>
        <p:spPr>
          <a:xfrm>
            <a:off x="5436466" y="3556446"/>
            <a:ext cx="225126" cy="2501454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Logistic Regression Logged Resul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A20567-52E8-4DE8-93CE-2853DA651D92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8" name="Graphic 7" descr="Gauge">
            <a:hlinkClick r:id="rId3" action="ppaction://hlinksldjump"/>
            <a:extLst>
              <a:ext uri="{FF2B5EF4-FFF2-40B4-BE49-F238E27FC236}">
                <a16:creationId xmlns:a16="http://schemas.microsoft.com/office/drawing/2014/main" id="{F8FB23EC-AB47-4750-93B6-0ED89D3632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9" name="TextBox 8">
            <a:hlinkClick r:id="rId6" action="ppaction://hlinksldjump"/>
            <a:extLst>
              <a:ext uri="{FF2B5EF4-FFF2-40B4-BE49-F238E27FC236}">
                <a16:creationId xmlns:a16="http://schemas.microsoft.com/office/drawing/2014/main" id="{0B2B43D0-5929-4014-9F6B-432220C1FFF4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922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05339912-8783-4B8F-8AFB-B2DB0A923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Detec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6050E8D-2746-4DE8-8008-BB9CCDF076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5400" y="1242888"/>
            <a:ext cx="10800000" cy="193002"/>
          </a:xfrm>
        </p:spPr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graphicFrame>
        <p:nvGraphicFramePr>
          <p:cNvPr id="15" name="Picture Placeholder 14">
            <a:extLst>
              <a:ext uri="{FF2B5EF4-FFF2-40B4-BE49-F238E27FC236}">
                <a16:creationId xmlns:a16="http://schemas.microsoft.com/office/drawing/2014/main" id="{809F0C2B-0C54-44E9-9B88-2BB4AAF28AE8}"/>
              </a:ext>
            </a:extLst>
          </p:cNvPr>
          <p:cNvGraphicFramePr>
            <a:graphicFrameLocks noGrp="1"/>
          </p:cNvGraphicFramePr>
          <p:nvPr>
            <p:ph type="pic" sz="quarter" idx="13"/>
            <p:extLst>
              <p:ext uri="{D42A27DB-BD31-4B8C-83A1-F6EECF244321}">
                <p14:modId xmlns:p14="http://schemas.microsoft.com/office/powerpoint/2010/main" val="1937100709"/>
              </p:ext>
            </p:extLst>
          </p:nvPr>
        </p:nvGraphicFramePr>
        <p:xfrm>
          <a:off x="156754" y="1952254"/>
          <a:ext cx="11930743" cy="45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04BAFCD-4669-44A9-ABD0-5405A7554F6A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6" name="Graphic 5" descr="Gauge">
            <a:hlinkClick r:id="rId7" action="ppaction://hlinksldjump"/>
            <a:extLst>
              <a:ext uri="{FF2B5EF4-FFF2-40B4-BE49-F238E27FC236}">
                <a16:creationId xmlns:a16="http://schemas.microsoft.com/office/drawing/2014/main" id="{669BC080-5726-4F25-B0BC-CA22CA9FBF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7" name="TextBox 6">
            <a:hlinkClick r:id="rId10" action="ppaction://hlinksldjump"/>
            <a:extLst>
              <a:ext uri="{FF2B5EF4-FFF2-40B4-BE49-F238E27FC236}">
                <a16:creationId xmlns:a16="http://schemas.microsoft.com/office/drawing/2014/main" id="{FFCEAEF1-33A1-4962-8AD1-FD43CD791771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8045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475EB8-5534-4CE5-97D4-BFE79BD680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72A4D-91BF-4D00-ABE2-60C065988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DETECTION Results - SLUG LABELLING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96E69AD-8DC8-438C-822D-1E1936BA0D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81" y="1981438"/>
            <a:ext cx="10575637" cy="442120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87C6828-1D7C-489A-8892-2A966D9DDE15}"/>
              </a:ext>
            </a:extLst>
          </p:cNvPr>
          <p:cNvSpPr txBox="1"/>
          <p:nvPr/>
        </p:nvSpPr>
        <p:spPr>
          <a:xfrm>
            <a:off x="5525338" y="6373457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6" name="Graphic 5" descr="Gauge">
            <a:hlinkClick r:id="rId3" action="ppaction://hlinksldjump"/>
            <a:extLst>
              <a:ext uri="{FF2B5EF4-FFF2-40B4-BE49-F238E27FC236}">
                <a16:creationId xmlns:a16="http://schemas.microsoft.com/office/drawing/2014/main" id="{824C7F85-E27A-4C0D-B1AA-208BE10D20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7" name="TextBox 6">
            <a:hlinkClick r:id="rId6" action="ppaction://hlinksldjump"/>
            <a:extLst>
              <a:ext uri="{FF2B5EF4-FFF2-40B4-BE49-F238E27FC236}">
                <a16:creationId xmlns:a16="http://schemas.microsoft.com/office/drawing/2014/main" id="{E1317610-2269-4F1E-A412-A426890467BB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8417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C84347-F670-41F0-B105-7D4EA8D674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18A38D-090F-4551-9AC5-929A2D832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DETECTION – INTERVAL LABELL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B381A9E-2BDC-444E-8677-797BA1BEF4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1673" y="2073199"/>
            <a:ext cx="7472218" cy="4532138"/>
          </a:xfrm>
          <a:prstGeom prst="rect">
            <a:avLst/>
          </a:prstGeom>
        </p:spPr>
      </p:pic>
      <p:pic>
        <p:nvPicPr>
          <p:cNvPr id="5" name="Graphic 4" descr="Gauge">
            <a:hlinkClick r:id="rId3" action="ppaction://hlinksldjump"/>
            <a:extLst>
              <a:ext uri="{FF2B5EF4-FFF2-40B4-BE49-F238E27FC236}">
                <a16:creationId xmlns:a16="http://schemas.microsoft.com/office/drawing/2014/main" id="{A6C0A70B-D082-484F-A9F6-D13C9D3EC8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6" name="TextBox 5">
            <a:hlinkClick r:id="rId6" action="ppaction://hlinksldjump"/>
            <a:extLst>
              <a:ext uri="{FF2B5EF4-FFF2-40B4-BE49-F238E27FC236}">
                <a16:creationId xmlns:a16="http://schemas.microsoft.com/office/drawing/2014/main" id="{750BDEC8-0562-48C7-A7C6-FA3412F47638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007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5587170-1752-4578-8F7F-72703A2D5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0AA8DF-4941-47B6-9EEF-0C2D19B591B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5400" y="1255779"/>
            <a:ext cx="10800000" cy="193002"/>
          </a:xfrm>
        </p:spPr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86A4DB-ACDF-4D35-B19B-D664A88871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000" dirty="0"/>
              <a:t>Project Overview and Objectives</a:t>
            </a:r>
          </a:p>
          <a:p>
            <a:r>
              <a:rPr lang="en-GB" sz="2000" dirty="0"/>
              <a:t>Slug Detection Package</a:t>
            </a:r>
          </a:p>
          <a:p>
            <a:r>
              <a:rPr lang="en-GB" sz="2000" dirty="0"/>
              <a:t>Conclusion and Next Ste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046DBA1-A264-4A3F-AF6F-A35AB6FC186C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</p:spTree>
    <p:extLst>
      <p:ext uri="{BB962C8B-B14F-4D97-AF65-F5344CB8AC3E}">
        <p14:creationId xmlns:p14="http://schemas.microsoft.com/office/powerpoint/2010/main" val="36455018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6A1F6D-35F4-42BC-B841-DAA5D63FA7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8D0740-6266-4122-B58D-5D6716636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DETECTION RESULTS - INTERVAL LABELL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BC26CF-BB00-4E60-8050-79EDB0ED9D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1891" y="2022763"/>
            <a:ext cx="8768218" cy="416811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0B27C4C-1279-4113-A9C2-A45712EB8416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7" name="Graphic 6" descr="Gauge">
            <a:hlinkClick r:id="rId3" action="ppaction://hlinksldjump"/>
            <a:extLst>
              <a:ext uri="{FF2B5EF4-FFF2-40B4-BE49-F238E27FC236}">
                <a16:creationId xmlns:a16="http://schemas.microsoft.com/office/drawing/2014/main" id="{658112A9-7F0E-4A1B-A062-2E5057D806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8" name="TextBox 7">
            <a:hlinkClick r:id="rId6" action="ppaction://hlinksldjump"/>
            <a:extLst>
              <a:ext uri="{FF2B5EF4-FFF2-40B4-BE49-F238E27FC236}">
                <a16:creationId xmlns:a16="http://schemas.microsoft.com/office/drawing/2014/main" id="{04E28958-D2C8-41ED-892B-60D6EDB83B94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434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AD4F2D6-4AA4-4013-A614-001BC4D393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BD4059-1221-415F-A78B-11B16FDD0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DETECTION – FEATURE ENGINEER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EA5305C-312E-46DD-9F6E-BA84B2FAF7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1839" y="1903360"/>
            <a:ext cx="7348321" cy="41990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2CD4059-6519-4DD8-B10B-7427943305B9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7" name="Graphic 6" descr="Gauge">
            <a:hlinkClick r:id="rId3" action="ppaction://hlinksldjump"/>
            <a:extLst>
              <a:ext uri="{FF2B5EF4-FFF2-40B4-BE49-F238E27FC236}">
                <a16:creationId xmlns:a16="http://schemas.microsoft.com/office/drawing/2014/main" id="{BEF86102-A5BA-434A-BFCE-36855EA6BF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8" name="TextBox 7">
            <a:hlinkClick r:id="rId6" action="ppaction://hlinksldjump"/>
            <a:extLst>
              <a:ext uri="{FF2B5EF4-FFF2-40B4-BE49-F238E27FC236}">
                <a16:creationId xmlns:a16="http://schemas.microsoft.com/office/drawing/2014/main" id="{48112B0E-DD95-4005-A67C-0B71A022F8ED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99261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AD4F2D6-4AA4-4013-A614-001BC4D393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BD4059-1221-415F-A78B-11B16FDD0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DETECTION – FEATURE ENGINEERING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5D8DAC8-E3A5-4792-B12D-64FCE5E195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578889"/>
              </p:ext>
            </p:extLst>
          </p:nvPr>
        </p:nvGraphicFramePr>
        <p:xfrm>
          <a:off x="546033" y="2946912"/>
          <a:ext cx="2088000" cy="3048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152000">
                  <a:extLst>
                    <a:ext uri="{9D8B030D-6E8A-4147-A177-3AD203B41FA5}">
                      <a16:colId xmlns:a16="http://schemas.microsoft.com/office/drawing/2014/main" val="2593561696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3126871244"/>
                    </a:ext>
                  </a:extLst>
                </a:gridCol>
              </a:tblGrid>
              <a:tr h="288000">
                <a:tc rowSpan="5">
                  <a:txBody>
                    <a:bodyPr/>
                    <a:lstStyle/>
                    <a:p>
                      <a:r>
                        <a:rPr lang="en-GB" sz="1400" dirty="0"/>
                        <a:t>Mean</a:t>
                      </a:r>
                    </a:p>
                    <a:p>
                      <a:r>
                        <a:rPr lang="en-GB" sz="1400" dirty="0"/>
                        <a:t>(normalised valu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7677101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3367658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5563994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593498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3816281"/>
                  </a:ext>
                </a:extLst>
              </a:tr>
              <a:tr h="288000">
                <a:tc rowSpan="5">
                  <a:txBody>
                    <a:bodyPr/>
                    <a:lstStyle/>
                    <a:p>
                      <a:r>
                        <a:rPr lang="en-GB" sz="1400" dirty="0"/>
                        <a:t>Standard Deviation</a:t>
                      </a:r>
                    </a:p>
                    <a:p>
                      <a:r>
                        <a:rPr lang="en-GB" sz="1400" dirty="0"/>
                        <a:t>(normalised valu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3897800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48813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9813056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002883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9680612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2F74885-7C92-4EF8-AEA5-158166499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288234"/>
              </p:ext>
            </p:extLst>
          </p:nvPr>
        </p:nvGraphicFramePr>
        <p:xfrm>
          <a:off x="2964968" y="3251712"/>
          <a:ext cx="1980000" cy="24384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593561696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126871244"/>
                    </a:ext>
                  </a:extLst>
                </a:gridCol>
              </a:tblGrid>
              <a:tr h="288000">
                <a:tc rowSpan="4">
                  <a:txBody>
                    <a:bodyPr/>
                    <a:lstStyle/>
                    <a:p>
                      <a:r>
                        <a:rPr lang="en-GB" sz="1400" dirty="0"/>
                        <a:t>Delta Me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1 -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7677101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2 -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3367658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3 -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5563994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4 -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593498"/>
                  </a:ext>
                </a:extLst>
              </a:tr>
              <a:tr h="288000">
                <a:tc rowSpan="4">
                  <a:txBody>
                    <a:bodyPr/>
                    <a:lstStyle/>
                    <a:p>
                      <a:r>
                        <a:rPr lang="en-GB" sz="1400" dirty="0"/>
                        <a:t>Delta Standard Devi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1 -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3897800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2 -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48813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3 -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9813056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4 -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002883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E68A7BDE-C781-42B8-A9CE-5C55A0946A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1864091"/>
              </p:ext>
            </p:extLst>
          </p:nvPr>
        </p:nvGraphicFramePr>
        <p:xfrm>
          <a:off x="5275903" y="3251712"/>
          <a:ext cx="1980000" cy="24384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593561696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126871244"/>
                    </a:ext>
                  </a:extLst>
                </a:gridCol>
              </a:tblGrid>
              <a:tr h="288000">
                <a:tc rowSpan="4">
                  <a:txBody>
                    <a:bodyPr/>
                    <a:lstStyle/>
                    <a:p>
                      <a:r>
                        <a:rPr lang="en-GB" sz="1400" dirty="0"/>
                        <a:t>Binary Increase Indicator Delta Me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1 -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7677101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2 -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3367658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3 -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5563994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4 -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593498"/>
                  </a:ext>
                </a:extLst>
              </a:tr>
              <a:tr h="288000">
                <a:tc rowSpan="4">
                  <a:txBody>
                    <a:bodyPr/>
                    <a:lstStyle/>
                    <a:p>
                      <a:r>
                        <a:rPr lang="en-GB" sz="1400" dirty="0"/>
                        <a:t>Binary Increase Indicator Delta Devi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1 -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3897800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2 -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48813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3 -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9813056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4 -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002883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65AD4CD-1A31-4823-B06C-0E11570B6D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6256658"/>
              </p:ext>
            </p:extLst>
          </p:nvPr>
        </p:nvGraphicFramePr>
        <p:xfrm>
          <a:off x="7586838" y="3251712"/>
          <a:ext cx="2124000" cy="24384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2593561696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126871244"/>
                    </a:ext>
                  </a:extLst>
                </a:gridCol>
              </a:tblGrid>
              <a:tr h="288000">
                <a:tc rowSpan="4">
                  <a:txBody>
                    <a:bodyPr/>
                    <a:lstStyle/>
                    <a:p>
                      <a:r>
                        <a:rPr lang="en-GB" sz="1400" dirty="0"/>
                        <a:t>Binary Significance Indicator Delta Me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1 -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7677101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2 -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3367658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3 -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5563994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4 -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593498"/>
                  </a:ext>
                </a:extLst>
              </a:tr>
              <a:tr h="288000">
                <a:tc rowSpan="4">
                  <a:txBody>
                    <a:bodyPr/>
                    <a:lstStyle/>
                    <a:p>
                      <a:r>
                        <a:rPr lang="en-GB" sz="1400" dirty="0"/>
                        <a:t>Binary Significance Indicator Delta Devi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1 -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3897800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2 -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48813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3 -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9813056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ection 4 -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002883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BD2A88C-91F7-40DC-A26A-BBC0602A4C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1364993"/>
              </p:ext>
            </p:extLst>
          </p:nvPr>
        </p:nvGraphicFramePr>
        <p:xfrm>
          <a:off x="10041773" y="3739392"/>
          <a:ext cx="1985386" cy="14630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285590">
                  <a:extLst>
                    <a:ext uri="{9D8B030D-6E8A-4147-A177-3AD203B41FA5}">
                      <a16:colId xmlns:a16="http://schemas.microsoft.com/office/drawing/2014/main" val="2593561696"/>
                    </a:ext>
                  </a:extLst>
                </a:gridCol>
                <a:gridCol w="699796">
                  <a:extLst>
                    <a:ext uri="{9D8B030D-6E8A-4147-A177-3AD203B41FA5}">
                      <a16:colId xmlns:a16="http://schemas.microsoft.com/office/drawing/2014/main" val="3126871244"/>
                    </a:ext>
                  </a:extLst>
                </a:gridCol>
              </a:tblGrid>
              <a:tr h="365760">
                <a:tc rowSpan="2">
                  <a:txBody>
                    <a:bodyPr/>
                    <a:lstStyle/>
                    <a:p>
                      <a:r>
                        <a:rPr lang="en-GB" sz="1400" dirty="0"/>
                        <a:t>Count number of significant incre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Me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9694691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t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7677101"/>
                  </a:ext>
                </a:extLst>
              </a:tr>
              <a:tr h="365760">
                <a:tc rowSpan="2">
                  <a:txBody>
                    <a:bodyPr/>
                    <a:lstStyle/>
                    <a:p>
                      <a:r>
                        <a:rPr lang="en-GB" sz="1400" dirty="0"/>
                        <a:t>Count number of significant decre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Me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3897800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t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974362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ECA102E5-EFE0-46C4-8F89-74FE4527B391}"/>
              </a:ext>
            </a:extLst>
          </p:cNvPr>
          <p:cNvSpPr txBox="1"/>
          <p:nvPr/>
        </p:nvSpPr>
        <p:spPr>
          <a:xfrm>
            <a:off x="1163762" y="2385805"/>
            <a:ext cx="85254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10 Featur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B00822-4373-48D8-A705-19169923EDC9}"/>
              </a:ext>
            </a:extLst>
          </p:cNvPr>
          <p:cNvSpPr txBox="1"/>
          <p:nvPr/>
        </p:nvSpPr>
        <p:spPr>
          <a:xfrm>
            <a:off x="3574383" y="2385805"/>
            <a:ext cx="761170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8 Featur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FB66B0-1736-406A-9D68-8D130E45A5E2}"/>
              </a:ext>
            </a:extLst>
          </p:cNvPr>
          <p:cNvSpPr txBox="1"/>
          <p:nvPr/>
        </p:nvSpPr>
        <p:spPr>
          <a:xfrm>
            <a:off x="5885318" y="2385805"/>
            <a:ext cx="761170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8 Featur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FF7009-BD0B-48B4-AD2B-4F09C2524B32}"/>
              </a:ext>
            </a:extLst>
          </p:cNvPr>
          <p:cNvSpPr txBox="1"/>
          <p:nvPr/>
        </p:nvSpPr>
        <p:spPr>
          <a:xfrm>
            <a:off x="8268253" y="2385805"/>
            <a:ext cx="761170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8 Featur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3E86EB-8912-4D1A-BA8C-10026EF2D822}"/>
              </a:ext>
            </a:extLst>
          </p:cNvPr>
          <p:cNvSpPr txBox="1"/>
          <p:nvPr/>
        </p:nvSpPr>
        <p:spPr>
          <a:xfrm>
            <a:off x="10603989" y="2379979"/>
            <a:ext cx="801245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 4 Featur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44B8C82-D997-47CB-9152-01F336457785}"/>
              </a:ext>
            </a:extLst>
          </p:cNvPr>
          <p:cNvSpPr txBox="1"/>
          <p:nvPr/>
        </p:nvSpPr>
        <p:spPr>
          <a:xfrm>
            <a:off x="3528697" y="2610931"/>
            <a:ext cx="85254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accent3"/>
                </a:solidFill>
              </a:rPr>
              <a:t>18 Featur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EACA0C3-A214-406F-ACDA-DCF95AC9786D}"/>
              </a:ext>
            </a:extLst>
          </p:cNvPr>
          <p:cNvSpPr txBox="1"/>
          <p:nvPr/>
        </p:nvSpPr>
        <p:spPr>
          <a:xfrm>
            <a:off x="5839632" y="2602133"/>
            <a:ext cx="85254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accent3"/>
                </a:solidFill>
              </a:rPr>
              <a:t>26 Featur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410C8FA-1895-42B8-8040-9B9C132BEE57}"/>
              </a:ext>
            </a:extLst>
          </p:cNvPr>
          <p:cNvSpPr txBox="1"/>
          <p:nvPr/>
        </p:nvSpPr>
        <p:spPr>
          <a:xfrm>
            <a:off x="8222567" y="2610931"/>
            <a:ext cx="85254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accent3"/>
                </a:solidFill>
              </a:rPr>
              <a:t>34 Featur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DC43794-DDD7-429F-863C-EBBCA958D39E}"/>
              </a:ext>
            </a:extLst>
          </p:cNvPr>
          <p:cNvSpPr txBox="1"/>
          <p:nvPr/>
        </p:nvSpPr>
        <p:spPr>
          <a:xfrm>
            <a:off x="10558303" y="2602133"/>
            <a:ext cx="85254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accent3"/>
                </a:solidFill>
              </a:rPr>
              <a:t>36 Featur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A3CF230-B282-4D72-BE5C-820F7A8A8815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23" name="Graphic 22" descr="Gauge">
            <a:hlinkClick r:id="rId2" action="ppaction://hlinksldjump"/>
            <a:extLst>
              <a:ext uri="{FF2B5EF4-FFF2-40B4-BE49-F238E27FC236}">
                <a16:creationId xmlns:a16="http://schemas.microsoft.com/office/drawing/2014/main" id="{584E2439-C51D-466B-9FB3-42D7429451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24" name="TextBox 23">
            <a:hlinkClick r:id="rId5" action="ppaction://hlinksldjump"/>
            <a:extLst>
              <a:ext uri="{FF2B5EF4-FFF2-40B4-BE49-F238E27FC236}">
                <a16:creationId xmlns:a16="http://schemas.microsoft.com/office/drawing/2014/main" id="{98FE055A-87D5-4463-884A-2025772E8298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959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AD4F2D6-4AA4-4013-A614-001BC4D393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BD4059-1221-415F-A78B-11B16FDD0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DETECTION – FEATURE ENGINEER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DC5D6D6-5825-4FA7-89AE-136825A7BCFD}"/>
              </a:ext>
            </a:extLst>
          </p:cNvPr>
          <p:cNvSpPr txBox="1"/>
          <p:nvPr/>
        </p:nvSpPr>
        <p:spPr>
          <a:xfrm>
            <a:off x="6777144" y="3902117"/>
            <a:ext cx="1900392" cy="3216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2000" b="1" dirty="0">
                <a:solidFill>
                  <a:schemeClr val="accent3"/>
                </a:solidFill>
              </a:rPr>
              <a:t>Total 152 featur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5D80FC-86D3-45D9-9861-C23E2E01E990}"/>
              </a:ext>
            </a:extLst>
          </p:cNvPr>
          <p:cNvSpPr txBox="1"/>
          <p:nvPr/>
        </p:nvSpPr>
        <p:spPr>
          <a:xfrm>
            <a:off x="2603520" y="3918179"/>
            <a:ext cx="2657779" cy="3216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2000" dirty="0">
                <a:solidFill>
                  <a:schemeClr val="accent3"/>
                </a:solidFill>
              </a:rPr>
              <a:t>WHP + DHP + WHT + DH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580B2DB-711E-4A1E-817D-8882BCFC11DD}"/>
              </a:ext>
            </a:extLst>
          </p:cNvPr>
          <p:cNvSpPr txBox="1"/>
          <p:nvPr/>
        </p:nvSpPr>
        <p:spPr>
          <a:xfrm>
            <a:off x="1163762" y="2385805"/>
            <a:ext cx="85254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10 Featur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CF33288-A925-4BCF-9DF0-2DDFB8DFEE95}"/>
              </a:ext>
            </a:extLst>
          </p:cNvPr>
          <p:cNvSpPr txBox="1"/>
          <p:nvPr/>
        </p:nvSpPr>
        <p:spPr>
          <a:xfrm>
            <a:off x="3574383" y="2385805"/>
            <a:ext cx="761170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8 Featur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ED52457-AD7C-4819-A8BC-FC934479AFA9}"/>
              </a:ext>
            </a:extLst>
          </p:cNvPr>
          <p:cNvSpPr txBox="1"/>
          <p:nvPr/>
        </p:nvSpPr>
        <p:spPr>
          <a:xfrm>
            <a:off x="5885318" y="2385805"/>
            <a:ext cx="761170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8 Featur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4F05675-4D02-4419-9050-5E11B7C841FC}"/>
              </a:ext>
            </a:extLst>
          </p:cNvPr>
          <p:cNvSpPr txBox="1"/>
          <p:nvPr/>
        </p:nvSpPr>
        <p:spPr>
          <a:xfrm>
            <a:off x="8268253" y="2385805"/>
            <a:ext cx="761170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8 Featur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69B89F8-0B25-4BD5-AFC9-1458F88855B1}"/>
              </a:ext>
            </a:extLst>
          </p:cNvPr>
          <p:cNvSpPr txBox="1"/>
          <p:nvPr/>
        </p:nvSpPr>
        <p:spPr>
          <a:xfrm>
            <a:off x="10603989" y="2379979"/>
            <a:ext cx="801245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 4 Featur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F077D67-F6DA-4F27-9DB8-2F2EC02E8EC7}"/>
              </a:ext>
            </a:extLst>
          </p:cNvPr>
          <p:cNvSpPr txBox="1"/>
          <p:nvPr/>
        </p:nvSpPr>
        <p:spPr>
          <a:xfrm>
            <a:off x="3528697" y="2610931"/>
            <a:ext cx="85254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accent3"/>
                </a:solidFill>
              </a:rPr>
              <a:t>18 Feature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84F6800-BC9E-429C-9AEC-1783DB9F2093}"/>
              </a:ext>
            </a:extLst>
          </p:cNvPr>
          <p:cNvSpPr txBox="1"/>
          <p:nvPr/>
        </p:nvSpPr>
        <p:spPr>
          <a:xfrm>
            <a:off x="5839632" y="2602133"/>
            <a:ext cx="85254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accent3"/>
                </a:solidFill>
              </a:rPr>
              <a:t>26 Feature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548312D-08C8-49E5-8F06-8B3BB1A5705A}"/>
              </a:ext>
            </a:extLst>
          </p:cNvPr>
          <p:cNvSpPr txBox="1"/>
          <p:nvPr/>
        </p:nvSpPr>
        <p:spPr>
          <a:xfrm>
            <a:off x="8222567" y="2610931"/>
            <a:ext cx="85254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accent3"/>
                </a:solidFill>
              </a:rPr>
              <a:t>34 Feature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BE19120-174A-4D26-B1B8-AD9B076D81D0}"/>
              </a:ext>
            </a:extLst>
          </p:cNvPr>
          <p:cNvSpPr txBox="1"/>
          <p:nvPr/>
        </p:nvSpPr>
        <p:spPr>
          <a:xfrm>
            <a:off x="10558303" y="2602133"/>
            <a:ext cx="85254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accent3"/>
                </a:solidFill>
              </a:rPr>
              <a:t>36 Featur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9046C86-7FCF-4130-B57B-FCEDB8770FB7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43" name="Graphic 42" descr="Gauge">
            <a:hlinkClick r:id="rId2" action="ppaction://hlinksldjump"/>
            <a:extLst>
              <a:ext uri="{FF2B5EF4-FFF2-40B4-BE49-F238E27FC236}">
                <a16:creationId xmlns:a16="http://schemas.microsoft.com/office/drawing/2014/main" id="{368C39F1-8124-4358-9242-FB0A13A5D2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44" name="TextBox 43">
            <a:hlinkClick r:id="rId5" action="ppaction://hlinksldjump"/>
            <a:extLst>
              <a:ext uri="{FF2B5EF4-FFF2-40B4-BE49-F238E27FC236}">
                <a16:creationId xmlns:a16="http://schemas.microsoft.com/office/drawing/2014/main" id="{821BA2D5-F396-4D13-95D1-EB356B11C5C8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5253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6A1F6D-35F4-42BC-B841-DAA5D63FA7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8D0740-6266-4122-B58D-5D6716636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DETECTION RESUL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1DBAA9-8E44-48E7-B280-4773E800EE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913" y="2161978"/>
            <a:ext cx="5280000" cy="396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BE07CA8-FB6E-42F3-9A48-245314878D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5088" y="2161978"/>
            <a:ext cx="5280000" cy="3960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1703F77-02E7-4CFF-8BD7-4E920FD91E14}"/>
              </a:ext>
            </a:extLst>
          </p:cNvPr>
          <p:cNvSpPr txBox="1"/>
          <p:nvPr/>
        </p:nvSpPr>
        <p:spPr>
          <a:xfrm>
            <a:off x="2358664" y="6268033"/>
            <a:ext cx="1956498" cy="2251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b="1" dirty="0"/>
              <a:t>ACCURACY RESULTS &gt; 96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BAFB84-722C-4864-BABB-EA93FDE9C3AA}"/>
              </a:ext>
            </a:extLst>
          </p:cNvPr>
          <p:cNvSpPr txBox="1"/>
          <p:nvPr/>
        </p:nvSpPr>
        <p:spPr>
          <a:xfrm>
            <a:off x="7876840" y="6268033"/>
            <a:ext cx="2047868" cy="2251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b="1" dirty="0"/>
              <a:t>ACCURACY RESULTS = 100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139A703-30B4-4862-A62B-830E76FC8E7D}"/>
              </a:ext>
            </a:extLst>
          </p:cNvPr>
          <p:cNvSpPr txBox="1"/>
          <p:nvPr/>
        </p:nvSpPr>
        <p:spPr>
          <a:xfrm>
            <a:off x="529167" y="4468894"/>
            <a:ext cx="1417952" cy="225126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accent3"/>
                </a:solidFill>
              </a:rPr>
              <a:t>Logistic Regress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2BB228-B9AF-4E69-8711-82A2B047392D}"/>
              </a:ext>
            </a:extLst>
          </p:cNvPr>
          <p:cNvSpPr txBox="1"/>
          <p:nvPr/>
        </p:nvSpPr>
        <p:spPr>
          <a:xfrm>
            <a:off x="6095206" y="3589935"/>
            <a:ext cx="225126" cy="110408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accent3"/>
                </a:solidFill>
              </a:rPr>
              <a:t>Random</a:t>
            </a:r>
            <a:r>
              <a:rPr lang="en-GB" sz="1400" dirty="0">
                <a:solidFill>
                  <a:schemeClr val="tx2"/>
                </a:solidFill>
              </a:rPr>
              <a:t> </a:t>
            </a:r>
            <a:r>
              <a:rPr lang="en-GB" sz="1400" dirty="0">
                <a:solidFill>
                  <a:schemeClr val="accent3"/>
                </a:solidFill>
              </a:rPr>
              <a:t>Fores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8955AED-F6F7-458D-BE79-79FA544674A7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15" name="Graphic 14" descr="Gauge">
            <a:hlinkClick r:id="rId5" action="ppaction://hlinksldjump"/>
            <a:extLst>
              <a:ext uri="{FF2B5EF4-FFF2-40B4-BE49-F238E27FC236}">
                <a16:creationId xmlns:a16="http://schemas.microsoft.com/office/drawing/2014/main" id="{0A3F104C-1A61-418C-876F-120DD6109B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16" name="TextBox 15">
            <a:hlinkClick r:id="rId8" action="ppaction://hlinksldjump"/>
            <a:extLst>
              <a:ext uri="{FF2B5EF4-FFF2-40B4-BE49-F238E27FC236}">
                <a16:creationId xmlns:a16="http://schemas.microsoft.com/office/drawing/2014/main" id="{A58AE237-6826-4181-A9C3-96F0A0BB7653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191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05339912-8783-4B8F-8AFB-B2DB0A923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FORECAST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6050E8D-2746-4DE8-8008-BB9CCDF076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5400" y="1242888"/>
            <a:ext cx="10800000" cy="193002"/>
          </a:xfrm>
        </p:spPr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graphicFrame>
        <p:nvGraphicFramePr>
          <p:cNvPr id="15" name="Picture Placeholder 14">
            <a:extLst>
              <a:ext uri="{FF2B5EF4-FFF2-40B4-BE49-F238E27FC236}">
                <a16:creationId xmlns:a16="http://schemas.microsoft.com/office/drawing/2014/main" id="{809F0C2B-0C54-44E9-9B88-2BB4AAF28AE8}"/>
              </a:ext>
            </a:extLst>
          </p:cNvPr>
          <p:cNvGraphicFramePr>
            <a:graphicFrameLocks noGrp="1"/>
          </p:cNvGraphicFramePr>
          <p:nvPr>
            <p:ph type="pic" sz="quarter" idx="13"/>
            <p:extLst>
              <p:ext uri="{D42A27DB-BD31-4B8C-83A1-F6EECF244321}">
                <p14:modId xmlns:p14="http://schemas.microsoft.com/office/powerpoint/2010/main" val="2066638153"/>
              </p:ext>
            </p:extLst>
          </p:nvPr>
        </p:nvGraphicFramePr>
        <p:xfrm>
          <a:off x="695400" y="1952254"/>
          <a:ext cx="9894845" cy="45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022FDBD-78A9-4281-B493-C098D58D6173}"/>
              </a:ext>
            </a:extLst>
          </p:cNvPr>
          <p:cNvSpPr txBox="1"/>
          <p:nvPr/>
        </p:nvSpPr>
        <p:spPr>
          <a:xfrm>
            <a:off x="5525532" y="6293795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6" name="Graphic 5" descr="Gauge">
            <a:hlinkClick r:id="rId7" action="ppaction://hlinksldjump"/>
            <a:extLst>
              <a:ext uri="{FF2B5EF4-FFF2-40B4-BE49-F238E27FC236}">
                <a16:creationId xmlns:a16="http://schemas.microsoft.com/office/drawing/2014/main" id="{2D341B47-EA69-4AD7-A1AF-44DD2C2236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7" name="TextBox 6">
            <a:hlinkClick r:id="rId10" action="ppaction://hlinksldjump"/>
            <a:extLst>
              <a:ext uri="{FF2B5EF4-FFF2-40B4-BE49-F238E27FC236}">
                <a16:creationId xmlns:a16="http://schemas.microsoft.com/office/drawing/2014/main" id="{5B1431DE-9BCA-413A-B7D9-699DE0A7FDCD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0045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6050E8D-2746-4DE8-8008-BB9CCDF076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05339912-8783-4B8F-8AFB-B2DB0A923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FORECASTING RESUL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21FB5CA-4B3E-48D9-AC60-18BC70559D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687" y="1903360"/>
            <a:ext cx="9741038" cy="40587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F989FAF-460B-4030-8317-0293A528CFCC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6" name="Graphic 5" descr="Gauge">
            <a:hlinkClick r:id="rId3" action="ppaction://hlinksldjump"/>
            <a:extLst>
              <a:ext uri="{FF2B5EF4-FFF2-40B4-BE49-F238E27FC236}">
                <a16:creationId xmlns:a16="http://schemas.microsoft.com/office/drawing/2014/main" id="{074A793B-8272-4E90-BCB4-8F1A51FEEA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7" name="TextBox 6">
            <a:hlinkClick r:id="rId6" action="ppaction://hlinksldjump"/>
            <a:extLst>
              <a:ext uri="{FF2B5EF4-FFF2-40B4-BE49-F238E27FC236}">
                <a16:creationId xmlns:a16="http://schemas.microsoft.com/office/drawing/2014/main" id="{8A6AD6E5-0903-47DF-9671-A448BF07FDEB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6225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6050E8D-2746-4DE8-8008-BB9CCDF076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05339912-8783-4B8F-8AFB-B2DB0A923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FORECASTING RESUL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21FB5CA-4B3E-48D9-AC60-18BC70559D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4508" y="1903360"/>
            <a:ext cx="13879428" cy="346985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CC19B2C-0CAF-48C6-AECB-A0EE0A139F1D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6" name="Graphic 5" descr="Gauge">
            <a:hlinkClick r:id="rId3" action="ppaction://hlinksldjump"/>
            <a:extLst>
              <a:ext uri="{FF2B5EF4-FFF2-40B4-BE49-F238E27FC236}">
                <a16:creationId xmlns:a16="http://schemas.microsoft.com/office/drawing/2014/main" id="{BF595555-A437-404C-910F-711CDD9635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7" name="TextBox 6">
            <a:hlinkClick r:id="rId6" action="ppaction://hlinksldjump"/>
            <a:extLst>
              <a:ext uri="{FF2B5EF4-FFF2-40B4-BE49-F238E27FC236}">
                <a16:creationId xmlns:a16="http://schemas.microsoft.com/office/drawing/2014/main" id="{49696F5B-E664-4C17-AF70-EB608F803166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4301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6050E8D-2746-4DE8-8008-BB9CCDF076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05339912-8783-4B8F-8AFB-B2DB0A923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FORECASTING RESULTS – Error metric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3BE601F-DB57-4B19-896C-628113C482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6533" y="2152650"/>
            <a:ext cx="5216677" cy="3912508"/>
          </a:xfrm>
          <a:prstGeom prst="rect">
            <a:avLst/>
          </a:prstGeom>
          <a:ln>
            <a:noFill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5CEC59A-3A91-45A1-BD52-7328ECCD2F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219" y="3733211"/>
            <a:ext cx="2837323" cy="751386"/>
          </a:xfrm>
          <a:prstGeom prst="rect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24D0658-53AD-40CA-B4D1-C66439286798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7" name="Graphic 6" descr="Gauge">
            <a:hlinkClick r:id="rId4" action="ppaction://hlinksldjump"/>
            <a:extLst>
              <a:ext uri="{FF2B5EF4-FFF2-40B4-BE49-F238E27FC236}">
                <a16:creationId xmlns:a16="http://schemas.microsoft.com/office/drawing/2014/main" id="{522B7012-F696-4397-84F5-3B062B805C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8" name="TextBox 7">
            <a:hlinkClick r:id="rId7" action="ppaction://hlinksldjump"/>
            <a:extLst>
              <a:ext uri="{FF2B5EF4-FFF2-40B4-BE49-F238E27FC236}">
                <a16:creationId xmlns:a16="http://schemas.microsoft.com/office/drawing/2014/main" id="{DEA8B9AA-1D47-4E64-815E-D21EC40DFCCE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4998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49B9E33-082E-497D-9655-0A3C8C7798C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75A739-CF6B-42EA-9FCE-2CA3CF5DA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8110ED-25BA-4A55-A7D1-039132C703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6694278-F419-48F7-8196-A9B3D24D7E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9AE74D2-845E-4EE3-A5B4-6B9B282257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Box 6">
            <a:hlinkClick r:id="rId2" action="ppaction://hlinksldjump"/>
            <a:extLst>
              <a:ext uri="{FF2B5EF4-FFF2-40B4-BE49-F238E27FC236}">
                <a16:creationId xmlns:a16="http://schemas.microsoft.com/office/drawing/2014/main" id="{9AC7228E-BB4C-45F2-B60B-6EE31143BF64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0907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49B9E33-082E-497D-9655-0A3C8C7798C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75A739-CF6B-42EA-9FCE-2CA3CF5DA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ject Overview &amp; Objectiv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8110ED-25BA-4A55-A7D1-039132C703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6694278-F419-48F7-8196-A9B3D24D7E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9AE74D2-845E-4EE3-A5B4-6B9B282257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01750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705BB63-1AD3-42AB-B1C1-032713D7B9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</a:t>
            </a:r>
          </a:p>
        </p:txBody>
      </p:sp>
      <p:graphicFrame>
        <p:nvGraphicFramePr>
          <p:cNvPr id="5" name="Picture Placeholder 10">
            <a:extLst>
              <a:ext uri="{FF2B5EF4-FFF2-40B4-BE49-F238E27FC236}">
                <a16:creationId xmlns:a16="http://schemas.microsoft.com/office/drawing/2014/main" id="{0E996B2B-3495-448A-84B1-3CEE770BB94B}"/>
              </a:ext>
            </a:extLst>
          </p:cNvPr>
          <p:cNvGraphicFramePr>
            <a:graphicFrameLocks noGrp="1"/>
          </p:cNvGraphicFramePr>
          <p:nvPr>
            <p:ph type="pic" sz="quarter" idx="15"/>
            <p:extLst>
              <p:ext uri="{D42A27DB-BD31-4B8C-83A1-F6EECF244321}">
                <p14:modId xmlns:p14="http://schemas.microsoft.com/office/powerpoint/2010/main" val="4060746656"/>
              </p:ext>
            </p:extLst>
          </p:nvPr>
        </p:nvGraphicFramePr>
        <p:xfrm>
          <a:off x="6707188" y="2148618"/>
          <a:ext cx="4787900" cy="3457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14078DD-58CF-46FE-995F-5DE7FD519B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7688EE9-765B-475F-B1E1-A9C137C5D7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1800" dirty="0"/>
              <a:t>Slug Detection 60 minutes in advance is successful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1800" dirty="0"/>
              <a:t>Slug Forecasting is successful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1800" dirty="0"/>
              <a:t>Possibility to use feature engineering for Flow Recognition module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GB" sz="1800" dirty="0"/>
          </a:p>
          <a:p>
            <a:r>
              <a:rPr lang="en-GB" sz="1800" b="1" dirty="0"/>
              <a:t>In the future: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1800" dirty="0">
                <a:solidFill>
                  <a:schemeClr val="accent3"/>
                </a:solidFill>
              </a:rPr>
              <a:t>Applying Slug Detection to live data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1800" dirty="0">
                <a:solidFill>
                  <a:schemeClr val="accent3"/>
                </a:solidFill>
              </a:rPr>
              <a:t>Using more complex Slug Forecasting model</a:t>
            </a:r>
          </a:p>
        </p:txBody>
      </p:sp>
      <p:pic>
        <p:nvPicPr>
          <p:cNvPr id="6" name="Graphic 5" descr="Gauge">
            <a:hlinkClick r:id="rId7" action="ppaction://hlinksldjump"/>
            <a:extLst>
              <a:ext uri="{FF2B5EF4-FFF2-40B4-BE49-F238E27FC236}">
                <a16:creationId xmlns:a16="http://schemas.microsoft.com/office/drawing/2014/main" id="{7A6D6788-EE67-4EB4-8687-FD8EC4FAB6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9" name="TextBox 8">
            <a:hlinkClick r:id="rId10" action="ppaction://hlinksldjump"/>
            <a:extLst>
              <a:ext uri="{FF2B5EF4-FFF2-40B4-BE49-F238E27FC236}">
                <a16:creationId xmlns:a16="http://schemas.microsoft.com/office/drawing/2014/main" id="{324719C4-3713-472F-A837-4046D4CBBC0E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935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85000"/>
            </a:pPr>
            <a:endParaRPr lang="en-GB" sz="3800" err="1">
              <a:latin typeface="WintershallDea" panose="020B0503040000020003"/>
              <a:ea typeface="+mj-ea"/>
              <a:cs typeface="+mj-cs"/>
              <a:sym typeface="WintershallDea" panose="020B0503040000020003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6000" y="3049364"/>
            <a:ext cx="10800000" cy="998478"/>
          </a:xfrm>
        </p:spPr>
        <p:txBody>
          <a:bodyPr/>
          <a:lstStyle/>
          <a:p>
            <a:r>
              <a:rPr lang="en-GB" dirty="0"/>
              <a:t>Thank you for listening</a:t>
            </a:r>
            <a:br>
              <a:rPr lang="en-GB" dirty="0"/>
            </a:br>
            <a:r>
              <a:rPr lang="en-GB" dirty="0">
                <a:solidFill>
                  <a:schemeClr val="accent3"/>
                </a:solidFill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5906654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suz="http://schemas.microsoft.com/office/powerpoint/2016/summaryzoom" Requires="psuz">
          <p:graphicFrame>
            <p:nvGraphicFramePr>
              <p:cNvPr id="4" name="Summary Zoom 3">
                <a:extLst>
                  <a:ext uri="{FF2B5EF4-FFF2-40B4-BE49-F238E27FC236}">
                    <a16:creationId xmlns:a16="http://schemas.microsoft.com/office/drawing/2014/main" id="{B640A5B8-D86D-4A4A-8785-DFCD1AD7405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884186786"/>
                  </p:ext>
                </p:extLst>
              </p:nvPr>
            </p:nvGraphicFramePr>
            <p:xfrm>
              <a:off x="73090" y="1726163"/>
              <a:ext cx="12045820" cy="3601598"/>
            </p:xfrm>
            <a:graphic>
              <a:graphicData uri="http://schemas.microsoft.com/office/powerpoint/2016/summaryzoom">
                <psuz:summaryZm>
                  <psuz:summaryZmObj sectionId="{C6DA8938-55DE-4D16-8B36-AF61012037B4}">
                    <psuz:zmPr id="{79BCFD04-8A6D-417B-872D-AE0E08CEDCC2}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39672" y="540505"/>
                          <a:ext cx="2168248" cy="121963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6495CC52-2E39-4196-B56C-4ABCC094853F}">
                    <psuz:zmPr id="{E4096405-AD55-4F09-8D1A-FFC527078B94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2689229" y="540505"/>
                          <a:ext cx="2168248" cy="121963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D7E04B91-AAAF-48BC-B374-B4CBE965D1C1}">
                    <psuz:zmPr id="{DB531B01-6774-4AF7-A5B1-4736494EBAC1}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938786" y="540505"/>
                          <a:ext cx="2168248" cy="121963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E91469D8-746A-49D1-8AA5-583508F738D8}">
                    <psuz:zmPr id="{510C029B-0D43-4100-99AA-853014303E3C}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7188343" y="540505"/>
                          <a:ext cx="2168248" cy="121963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3164E6C5-5162-463B-9E1D-E107F5FE023B}">
                    <psuz:zmPr id="{CF227B62-8D63-4925-BBF6-1C8521481D8A}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9437900" y="540505"/>
                          <a:ext cx="2168248" cy="121963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8036D0E1-A1EF-4761-862F-A0B82E21D24A}">
                    <psuz:zmPr id="{5CAADF7E-A46D-474A-A390-0CBBD3D96BC5}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39672" y="1841453"/>
                          <a:ext cx="2168248" cy="121963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E8DA9A60-9FB0-4CB7-8963-18BB9187BC2D}">
                    <psuz:zmPr id="{71A614CE-E317-4FAC-8AF6-15B281E918C9}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2689229" y="1841453"/>
                          <a:ext cx="2168248" cy="121963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DEEF237F-A0DF-49FF-BFFA-9215B60CD7FF}">
                    <psuz:zmPr id="{8EFCAE15-DE63-41B1-B0E8-D510CCE9F9A2}" transitionDur="1000">
                      <p166:blipFill xmlns:p166="http://schemas.microsoft.com/office/powerpoint/2016/6/main">
                        <a:blip r:embed="rId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4938786" y="1841453"/>
                          <a:ext cx="2168248" cy="121963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B3CAFCCD-6B82-456C-87B5-ABD27D2937F8}">
                    <psuz:zmPr id="{ABABDC92-EEBA-4008-90AF-50DCC2119689}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7188343" y="1841453"/>
                          <a:ext cx="2168248" cy="121963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C19D5152-3F22-4FDE-929A-FC6732FCD7D8}">
                    <psuz:zmPr id="{90002E48-7609-46AA-B075-61DB10D3D79F}" transitionDur="100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9437900" y="1841453"/>
                          <a:ext cx="2168248" cy="121963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gridLayout/>
                </psuz:summaryZm>
              </a:graphicData>
            </a:graphic>
          </p:graphicFrame>
        </mc:Choice>
        <mc:Fallback>
          <p:grpSp>
            <p:nvGrpSpPr>
              <p:cNvPr id="4" name="Summary Zoom 3">
                <a:extLst>
                  <a:ext uri="{FF2B5EF4-FFF2-40B4-BE49-F238E27FC236}">
                    <a16:creationId xmlns:a16="http://schemas.microsoft.com/office/drawing/2014/main" id="{B640A5B8-D86D-4A4A-8785-DFCD1AD74052}"/>
                  </a:ext>
                </a:extLst>
              </p:cNvPr>
              <p:cNvGrpSpPr>
                <a:grpSpLocks noGrp="1" noUngrp="1" noRot="1" noChangeAspect="1" noMove="1" noResize="1"/>
              </p:cNvGrpSpPr>
              <p:nvPr/>
            </p:nvGrpSpPr>
            <p:grpSpPr>
              <a:xfrm>
                <a:off x="73090" y="1726163"/>
                <a:ext cx="12045820" cy="3601598"/>
                <a:chOff x="73090" y="1726163"/>
                <a:chExt cx="12045820" cy="3601598"/>
              </a:xfrm>
            </p:grpSpPr>
            <p:pic>
              <p:nvPicPr>
                <p:cNvPr id="2" name="Picture 2">
                  <a:hlinkClick r:id="rId12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512762" y="2266668"/>
                  <a:ext cx="2168248" cy="1219639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3" name="Picture 3">
                  <a:hlinkClick r:id="rId13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2762319" y="2266668"/>
                  <a:ext cx="2168248" cy="1219639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5" name="Picture 5">
                  <a:hlinkClick r:id="rId14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011876" y="2266668"/>
                  <a:ext cx="2168248" cy="1219639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6" name="Picture 6">
                  <a:hlinkClick r:id="rId15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261433" y="2266668"/>
                  <a:ext cx="2168248" cy="1219639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7" name="Picture 7">
                  <a:hlinkClick r:id="rId16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9510990" y="2266668"/>
                  <a:ext cx="2168248" cy="1219639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8" name="Picture 8">
                  <a:hlinkClick r:id="rId17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12762" y="3567616"/>
                  <a:ext cx="2168248" cy="1219639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9" name="Picture 9">
                  <a:hlinkClick r:id="rId18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762319" y="3567616"/>
                  <a:ext cx="2168248" cy="1219639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10" name="Picture 10">
                  <a:hlinkClick r:id="rId19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011876" y="3567616"/>
                  <a:ext cx="2168248" cy="1219639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11" name="Picture 11">
                  <a:hlinkClick r:id="rId20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261433" y="3567616"/>
                  <a:ext cx="2168248" cy="1219639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12" name="Picture 12">
                  <a:hlinkClick r:id="rId21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9510990" y="3567616"/>
                  <a:ext cx="2168248" cy="1219639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p:grpSp>
        </mc:Fallback>
      </mc:AlternateContent>
    </p:spTree>
    <p:extLst>
      <p:ext uri="{BB962C8B-B14F-4D97-AF65-F5344CB8AC3E}">
        <p14:creationId xmlns:p14="http://schemas.microsoft.com/office/powerpoint/2010/main" val="14868849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444314-CADA-41B9-940E-4D1A19F9AE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upport Slid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FBBDCC-4014-414C-87E9-9EC2C51FD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Mode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B89A9F7-1D51-47D0-8A4E-2C666EFED7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023" y="2380239"/>
            <a:ext cx="3390900" cy="3076575"/>
          </a:xfrm>
          <a:prstGeom prst="rect">
            <a:avLst/>
          </a:prstGeom>
          <a:ln>
            <a:noFill/>
          </a:ln>
        </p:spPr>
      </p:pic>
      <p:pic>
        <p:nvPicPr>
          <p:cNvPr id="5" name="Graphic 4" descr="Gauge">
            <a:hlinkClick r:id="rId3" action="ppaction://hlinksldjump"/>
            <a:extLst>
              <a:ext uri="{FF2B5EF4-FFF2-40B4-BE49-F238E27FC236}">
                <a16:creationId xmlns:a16="http://schemas.microsoft.com/office/drawing/2014/main" id="{5DA418C9-AA1B-47A2-9C27-50C776A4FA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F306D6-A3FE-4E4D-A479-8C3B121679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90498" y="2308801"/>
            <a:ext cx="4772025" cy="32194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E45452B-3614-464C-83E6-4A4A26E117C5}"/>
              </a:ext>
            </a:extLst>
          </p:cNvPr>
          <p:cNvSpPr txBox="1"/>
          <p:nvPr/>
        </p:nvSpPr>
        <p:spPr>
          <a:xfrm>
            <a:off x="8375294" y="2019328"/>
            <a:ext cx="63446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KMEA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0CBD7D-F701-4415-AD54-B27398516B87}"/>
              </a:ext>
            </a:extLst>
          </p:cNvPr>
          <p:cNvSpPr txBox="1"/>
          <p:nvPr/>
        </p:nvSpPr>
        <p:spPr>
          <a:xfrm>
            <a:off x="2749238" y="2019328"/>
            <a:ext cx="337015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SV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162B3-A070-47C7-9354-8E19251A18A1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sp>
        <p:nvSpPr>
          <p:cNvPr id="10" name="TextBox 9">
            <a:hlinkClick r:id="rId7" action="ppaction://hlinksldjump"/>
            <a:extLst>
              <a:ext uri="{FF2B5EF4-FFF2-40B4-BE49-F238E27FC236}">
                <a16:creationId xmlns:a16="http://schemas.microsoft.com/office/drawing/2014/main" id="{41681F56-EB2D-4195-BC79-A244B76BEEA9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8524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444314-CADA-41B9-940E-4D1A19F9AE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upport Slid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FBBDCC-4014-414C-87E9-9EC2C51FD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Model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45452B-3614-464C-83E6-4A4A26E117C5}"/>
              </a:ext>
            </a:extLst>
          </p:cNvPr>
          <p:cNvSpPr txBox="1"/>
          <p:nvPr/>
        </p:nvSpPr>
        <p:spPr>
          <a:xfrm>
            <a:off x="8375294" y="2019328"/>
            <a:ext cx="214853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Random Forest/Decision Tre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0CBD7D-F701-4415-AD54-B27398516B87}"/>
              </a:ext>
            </a:extLst>
          </p:cNvPr>
          <p:cNvSpPr txBox="1"/>
          <p:nvPr/>
        </p:nvSpPr>
        <p:spPr>
          <a:xfrm>
            <a:off x="2749238" y="2019328"/>
            <a:ext cx="1417952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 err="1">
                <a:solidFill>
                  <a:schemeClr val="tx2"/>
                </a:solidFill>
              </a:rPr>
              <a:t>Logisitic</a:t>
            </a:r>
            <a:r>
              <a:rPr lang="en-GB" sz="1400" dirty="0">
                <a:solidFill>
                  <a:schemeClr val="tx2"/>
                </a:solidFill>
              </a:rPr>
              <a:t> Regress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B85F45-1A83-46F0-9FBA-29C7CC179F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6937" y="2516241"/>
            <a:ext cx="3905250" cy="2438400"/>
          </a:xfrm>
          <a:prstGeom prst="rect">
            <a:avLst/>
          </a:prstGeom>
        </p:spPr>
      </p:pic>
      <p:pic>
        <p:nvPicPr>
          <p:cNvPr id="20482" name="Picture 2" descr="Image result for logistic regression">
            <a:extLst>
              <a:ext uri="{FF2B5EF4-FFF2-40B4-BE49-F238E27FC236}">
                <a16:creationId xmlns:a16="http://schemas.microsoft.com/office/drawing/2014/main" id="{8D6A40C8-0FEB-4979-82F0-8778F98572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412" y="2516241"/>
            <a:ext cx="6096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phic 11" descr="Gauge">
            <a:hlinkClick r:id="rId4" action="ppaction://hlinksldjump"/>
            <a:extLst>
              <a:ext uri="{FF2B5EF4-FFF2-40B4-BE49-F238E27FC236}">
                <a16:creationId xmlns:a16="http://schemas.microsoft.com/office/drawing/2014/main" id="{0F2B38AF-4113-4E0F-8848-DF301D0478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14923" y="6231692"/>
            <a:ext cx="914400" cy="914400"/>
          </a:xfrm>
          <a:prstGeom prst="rect">
            <a:avLst/>
          </a:prstGeom>
        </p:spPr>
      </p:pic>
      <p:sp>
        <p:nvSpPr>
          <p:cNvPr id="14" name="TextBox 13">
            <a:hlinkClick r:id="rId7" action="ppaction://hlinksldjump"/>
            <a:extLst>
              <a:ext uri="{FF2B5EF4-FFF2-40B4-BE49-F238E27FC236}">
                <a16:creationId xmlns:a16="http://schemas.microsoft.com/office/drawing/2014/main" id="{5ABD77C1-4935-47C8-99C1-8A44034924BF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5720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66C66A-B2A7-45FD-8280-1BDAF9BE39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EFD43FC-C418-4428-B16F-58D6D6F24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low Recognition Resul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223677-2B8E-404A-BA54-230ADD289894}"/>
              </a:ext>
            </a:extLst>
          </p:cNvPr>
          <p:cNvSpPr txBox="1"/>
          <p:nvPr/>
        </p:nvSpPr>
        <p:spPr>
          <a:xfrm>
            <a:off x="8471164" y="6341709"/>
            <a:ext cx="1505510" cy="22512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Logistic Regress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0523CB-94C8-47A6-8682-5D36C3EC691E}"/>
              </a:ext>
            </a:extLst>
          </p:cNvPr>
          <p:cNvSpPr txBox="1"/>
          <p:nvPr/>
        </p:nvSpPr>
        <p:spPr>
          <a:xfrm>
            <a:off x="2651151" y="2375199"/>
            <a:ext cx="1956498" cy="2251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b="1" dirty="0"/>
              <a:t>ACCURACY RESULTS &gt; 95%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77B87C-86D0-4EF1-B2EF-E644EAA042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59" y="1658523"/>
            <a:ext cx="6257038" cy="4692779"/>
          </a:xfrm>
          <a:prstGeom prst="rect">
            <a:avLst/>
          </a:prstGeom>
        </p:spPr>
      </p:pic>
      <p:pic>
        <p:nvPicPr>
          <p:cNvPr id="20" name="Picture Placeholder 6">
            <a:extLst>
              <a:ext uri="{FF2B5EF4-FFF2-40B4-BE49-F238E27FC236}">
                <a16:creationId xmlns:a16="http://schemas.microsoft.com/office/drawing/2014/main" id="{B9B680CE-763A-4293-9818-47EDE07D17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7" b="1857"/>
          <a:stretch>
            <a:fillRect/>
          </a:stretch>
        </p:blipFill>
        <p:spPr bwMode="gray">
          <a:xfrm>
            <a:off x="5567556" y="1658523"/>
            <a:ext cx="6332785" cy="4573116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8B00F6E-6413-4653-A05E-F56DED26BD2F}"/>
              </a:ext>
            </a:extLst>
          </p:cNvPr>
          <p:cNvSpPr txBox="1"/>
          <p:nvPr/>
        </p:nvSpPr>
        <p:spPr>
          <a:xfrm>
            <a:off x="2651151" y="6335665"/>
            <a:ext cx="1505510" cy="22512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Support Vector</a:t>
            </a:r>
          </a:p>
        </p:txBody>
      </p:sp>
      <p:pic>
        <p:nvPicPr>
          <p:cNvPr id="9" name="Graphic 8" descr="Gauge">
            <a:hlinkClick r:id="rId4" action="ppaction://hlinksldjump"/>
            <a:extLst>
              <a:ext uri="{FF2B5EF4-FFF2-40B4-BE49-F238E27FC236}">
                <a16:creationId xmlns:a16="http://schemas.microsoft.com/office/drawing/2014/main" id="{1CAADF6C-9FA3-4FA3-9AD9-59BF8AEDBC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10" name="TextBox 9">
            <a:hlinkClick r:id="rId7" action="ppaction://hlinksldjump"/>
            <a:extLst>
              <a:ext uri="{FF2B5EF4-FFF2-40B4-BE49-F238E27FC236}">
                <a16:creationId xmlns:a16="http://schemas.microsoft.com/office/drawing/2014/main" id="{6ABAA71C-EB2A-411E-A1DC-99FFCE2FAE96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4596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C84347-F670-41F0-B105-7D4EA8D674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UPPORT SLID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18A38D-090F-4551-9AC5-929A2D832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DETECTION – DATA LABELLING</a:t>
            </a:r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2E9EFBF7-5ECC-4960-BAA1-B18B848D89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3284208"/>
              </p:ext>
            </p:extLst>
          </p:nvPr>
        </p:nvGraphicFramePr>
        <p:xfrm>
          <a:off x="83128" y="1903360"/>
          <a:ext cx="11619345" cy="39216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Graphic 5" descr="Gauge">
            <a:hlinkClick r:id="rId7" action="ppaction://hlinksldjump"/>
            <a:extLst>
              <a:ext uri="{FF2B5EF4-FFF2-40B4-BE49-F238E27FC236}">
                <a16:creationId xmlns:a16="http://schemas.microsoft.com/office/drawing/2014/main" id="{49E733D9-0EC9-4939-9648-0F74CEB38B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314923" y="6221964"/>
            <a:ext cx="914400" cy="914400"/>
          </a:xfrm>
          <a:prstGeom prst="rect">
            <a:avLst/>
          </a:prstGeom>
        </p:spPr>
      </p:pic>
      <p:sp>
        <p:nvSpPr>
          <p:cNvPr id="7" name="TextBox 6">
            <a:hlinkClick r:id="rId10" action="ppaction://hlinksldjump"/>
            <a:extLst>
              <a:ext uri="{FF2B5EF4-FFF2-40B4-BE49-F238E27FC236}">
                <a16:creationId xmlns:a16="http://schemas.microsoft.com/office/drawing/2014/main" id="{B1BBA77C-D6B1-4FE9-9228-9FBA814E5C2B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38431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475EB8-5534-4CE5-97D4-BFE79BD680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UPPORT SLID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72A4D-91BF-4D00-ABE2-60C065988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 DETECTION Results (SLUG LABELLING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96E69AD-8DC8-438C-822D-1E1936BA0D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676" y="1952254"/>
            <a:ext cx="10378647" cy="4421203"/>
          </a:xfrm>
          <a:prstGeom prst="rect">
            <a:avLst/>
          </a:prstGeom>
        </p:spPr>
      </p:pic>
      <p:pic>
        <p:nvPicPr>
          <p:cNvPr id="6" name="Graphic 5" descr="Gauge">
            <a:hlinkClick r:id="rId3" action="ppaction://hlinksldjump"/>
            <a:extLst>
              <a:ext uri="{FF2B5EF4-FFF2-40B4-BE49-F238E27FC236}">
                <a16:creationId xmlns:a16="http://schemas.microsoft.com/office/drawing/2014/main" id="{9E1BDE8D-6AC6-41C1-A4E7-4B09DE6F21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314923" y="6221964"/>
            <a:ext cx="914400" cy="914400"/>
          </a:xfrm>
          <a:prstGeom prst="rect">
            <a:avLst/>
          </a:prstGeom>
        </p:spPr>
      </p:pic>
      <p:sp>
        <p:nvSpPr>
          <p:cNvPr id="7" name="TextBox 6">
            <a:hlinkClick r:id="rId6" action="ppaction://hlinksldjump"/>
            <a:extLst>
              <a:ext uri="{FF2B5EF4-FFF2-40B4-BE49-F238E27FC236}">
                <a16:creationId xmlns:a16="http://schemas.microsoft.com/office/drawing/2014/main" id="{BBF4B21D-D2E6-4255-908E-69FB2C0DCF50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8100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9ED6EA-CD7A-482B-8C88-4ECB3513B77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UPPORT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193DD7-9D2B-4598-8965-CD365BA327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GB" dirty="0"/>
              <a:t>Include training and testing size</a:t>
            </a:r>
          </a:p>
          <a:p>
            <a:pPr marL="285750" indent="-285750">
              <a:buFontTx/>
              <a:buChar char="-"/>
            </a:pPr>
            <a:r>
              <a:rPr lang="en-GB" dirty="0"/>
              <a:t>Show hyperparameter tun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0B8301-8DED-4AFA-B78D-336F72B7E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INING AND TUNING SLUG DETECTION</a:t>
            </a:r>
          </a:p>
        </p:txBody>
      </p:sp>
      <p:pic>
        <p:nvPicPr>
          <p:cNvPr id="5" name="Graphic 4" descr="Gauge">
            <a:hlinkClick r:id="rId2" action="ppaction://hlinksldjump"/>
            <a:extLst>
              <a:ext uri="{FF2B5EF4-FFF2-40B4-BE49-F238E27FC236}">
                <a16:creationId xmlns:a16="http://schemas.microsoft.com/office/drawing/2014/main" id="{274C36AC-8F73-4747-82D8-EA4A1BBBC7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62523" y="6057900"/>
            <a:ext cx="914400" cy="914400"/>
          </a:xfrm>
          <a:prstGeom prst="rect">
            <a:avLst/>
          </a:prstGeom>
        </p:spPr>
      </p:pic>
      <p:sp>
        <p:nvSpPr>
          <p:cNvPr id="6" name="TextBox 5">
            <a:hlinkClick r:id="rId5" action="ppaction://hlinksldjump"/>
            <a:extLst>
              <a:ext uri="{FF2B5EF4-FFF2-40B4-BE49-F238E27FC236}">
                <a16:creationId xmlns:a16="http://schemas.microsoft.com/office/drawing/2014/main" id="{4C10A143-7CD1-47E6-9ED5-B8CC59534C3F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33621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8C8699-7C81-46F1-B305-2E25F6892A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UPPORT SLID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BEE6C6E-1ACD-4BEB-ADA3-A41B21D08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P - The Auto-Regressive (AR) parameter</a:t>
            </a:r>
            <a:r>
              <a:rPr lang="en-GB" sz="1600" dirty="0"/>
              <a:t>. It decides on how many past terms, also called lagged observations, are going to be used in the prediction. A weight is applied to each past term.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d - The Integrated (I) parameter</a:t>
            </a:r>
            <a:r>
              <a:rPr lang="en-GB" sz="1600" dirty="0"/>
              <a:t>, where d represents the degree of differencing. The differencing eliminates the seasonality of the data and ensures that the data is stationary. 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q - The Moving Average (MA) parameter </a:t>
            </a:r>
            <a:r>
              <a:rPr lang="en-GB" sz="1600" dirty="0"/>
              <a:t>which refers to the number of lagged residual errors of a moving average model that should be included. It removes errors and noise in the fit. MA have a fixed window and weights relative to time,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066C5F-24B9-4C54-89B4-3E45C1335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IMA PARAMATER SELECTION</a:t>
            </a:r>
          </a:p>
        </p:txBody>
      </p:sp>
      <p:pic>
        <p:nvPicPr>
          <p:cNvPr id="5" name="Graphic 4" descr="Gauge">
            <a:hlinkClick r:id="rId2" action="ppaction://hlinksldjump"/>
            <a:extLst>
              <a:ext uri="{FF2B5EF4-FFF2-40B4-BE49-F238E27FC236}">
                <a16:creationId xmlns:a16="http://schemas.microsoft.com/office/drawing/2014/main" id="{5D7929AD-5BE7-494F-905E-0D6AE0783E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62523" y="6057900"/>
            <a:ext cx="914400" cy="914400"/>
          </a:xfrm>
          <a:prstGeom prst="rect">
            <a:avLst/>
          </a:prstGeom>
        </p:spPr>
      </p:pic>
      <p:sp>
        <p:nvSpPr>
          <p:cNvPr id="6" name="TextBox 5">
            <a:hlinkClick r:id="rId5" action="ppaction://hlinksldjump"/>
            <a:extLst>
              <a:ext uri="{FF2B5EF4-FFF2-40B4-BE49-F238E27FC236}">
                <a16:creationId xmlns:a16="http://schemas.microsoft.com/office/drawing/2014/main" id="{55883C50-32EC-4895-A744-9C5DAC5B097F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4473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2FE31721-5DA5-4FE3-AC7F-783ED0352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shore wells and Slugg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A04DFDF-5B20-4A36-9279-009200D981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pic>
        <p:nvPicPr>
          <p:cNvPr id="18" name="Picture 2" descr="https://www.offshoreenergytoday.com/wp-content/uploads/2018/09/brage-source-wintershall-664x489.jpg">
            <a:extLst>
              <a:ext uri="{FF2B5EF4-FFF2-40B4-BE49-F238E27FC236}">
                <a16:creationId xmlns:a16="http://schemas.microsoft.com/office/drawing/2014/main" id="{60B8C606-8C37-49E3-AD52-96ED12CC5775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69" r="17269"/>
          <a:stretch>
            <a:fillRect/>
          </a:stretch>
        </p:blipFill>
        <p:spPr bwMode="auto">
          <a:xfrm>
            <a:off x="0" y="0"/>
            <a:ext cx="6096000" cy="6858000"/>
          </a:xfrm>
          <a:prstGeom prst="rect">
            <a:avLst/>
          </a:prstGeom>
          <a:noFill/>
          <a:ln>
            <a:solidFill>
              <a:schemeClr val="accent3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PTC_terrain-induced_v1">
            <a:hlinkClick r:id="" action="ppaction://media"/>
            <a:extLst>
              <a:ext uri="{FF2B5EF4-FFF2-40B4-BE49-F238E27FC236}">
                <a16:creationId xmlns:a16="http://schemas.microsoft.com/office/drawing/2014/main" id="{3CEA5C11-640C-4921-9804-77EE35997EF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6"/>
          <a:srcRect l="4833" t="11359" b="10571"/>
          <a:stretch/>
        </p:blipFill>
        <p:spPr>
          <a:xfrm>
            <a:off x="0" y="1983153"/>
            <a:ext cx="6121735" cy="3766957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19" name="Graphic 18" descr="Gauge">
            <a:hlinkClick r:id="rId7" action="ppaction://hlinksldjump"/>
            <a:extLst>
              <a:ext uri="{FF2B5EF4-FFF2-40B4-BE49-F238E27FC236}">
                <a16:creationId xmlns:a16="http://schemas.microsoft.com/office/drawing/2014/main" id="{F1717F1C-A6A8-498C-83E4-D377DE6032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101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4207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8C8699-7C81-46F1-B305-2E25F6892A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UPPORT SLID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066C5F-24B9-4C54-89B4-3E45C1335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IMA PARAMATER SELECTION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06F7C08-1422-4CDA-AE39-01EC8F21EE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9590" y="2101170"/>
            <a:ext cx="4800000" cy="360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3A41099-8A4C-42A8-8671-1861F2BEC2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917" y="3027343"/>
            <a:ext cx="1971950" cy="113363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858B370-4F99-4700-8560-15FBB97238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3805" y="2025243"/>
            <a:ext cx="4800000" cy="3600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02B59CD-8C0A-451C-9CDA-A93AA877881E}"/>
              </a:ext>
            </a:extLst>
          </p:cNvPr>
          <p:cNvSpPr txBox="1"/>
          <p:nvPr/>
        </p:nvSpPr>
        <p:spPr>
          <a:xfrm>
            <a:off x="2088682" y="5832909"/>
            <a:ext cx="9457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p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D21495-1298-4AEC-886A-2277C14A82A1}"/>
              </a:ext>
            </a:extLst>
          </p:cNvPr>
          <p:cNvSpPr txBox="1"/>
          <p:nvPr/>
        </p:nvSpPr>
        <p:spPr>
          <a:xfrm>
            <a:off x="5659655" y="5701170"/>
            <a:ext cx="9457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C26097-5CE2-4440-BB7E-0D2EB66C8E6B}"/>
              </a:ext>
            </a:extLst>
          </p:cNvPr>
          <p:cNvSpPr txBox="1"/>
          <p:nvPr/>
        </p:nvSpPr>
        <p:spPr>
          <a:xfrm>
            <a:off x="9384632" y="5832909"/>
            <a:ext cx="9457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q</a:t>
            </a:r>
          </a:p>
        </p:txBody>
      </p:sp>
      <p:pic>
        <p:nvPicPr>
          <p:cNvPr id="10" name="Graphic 9" descr="Gauge">
            <a:hlinkClick r:id="rId5" action="ppaction://hlinksldjump"/>
            <a:extLst>
              <a:ext uri="{FF2B5EF4-FFF2-40B4-BE49-F238E27FC236}">
                <a16:creationId xmlns:a16="http://schemas.microsoft.com/office/drawing/2014/main" id="{0AE73A70-C00F-488C-9719-0BD14BC8FE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62523" y="6057900"/>
            <a:ext cx="914400" cy="914400"/>
          </a:xfrm>
          <a:prstGeom prst="rect">
            <a:avLst/>
          </a:prstGeom>
        </p:spPr>
      </p:pic>
      <p:sp>
        <p:nvSpPr>
          <p:cNvPr id="11" name="TextBox 10">
            <a:hlinkClick r:id="rId8" action="ppaction://hlinksldjump"/>
            <a:extLst>
              <a:ext uri="{FF2B5EF4-FFF2-40B4-BE49-F238E27FC236}">
                <a16:creationId xmlns:a16="http://schemas.microsoft.com/office/drawing/2014/main" id="{98FEBBC3-9DF8-4319-9507-4B821DD02C28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5562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EDEF867-58F4-44BA-AB23-1B6A7A93B5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upport Slid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E535F7-20A1-4A2A-BA89-89630AFA8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IMA Limitations</a:t>
            </a:r>
          </a:p>
        </p:txBody>
      </p:sp>
      <p:pic>
        <p:nvPicPr>
          <p:cNvPr id="4" name="Graphic 3" descr="Gauge">
            <a:hlinkClick r:id="rId2" action="ppaction://hlinksldjump"/>
            <a:extLst>
              <a:ext uri="{FF2B5EF4-FFF2-40B4-BE49-F238E27FC236}">
                <a16:creationId xmlns:a16="http://schemas.microsoft.com/office/drawing/2014/main" id="{5ECF0361-0678-4BCD-AD1A-060CA7A846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62523" y="6057900"/>
            <a:ext cx="914400" cy="914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8E41C35-1589-422A-9520-185ADEDF17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" y="2456630"/>
            <a:ext cx="12192000" cy="3048000"/>
          </a:xfrm>
          <a:prstGeom prst="rect">
            <a:avLst/>
          </a:prstGeom>
        </p:spPr>
      </p:pic>
      <p:sp>
        <p:nvSpPr>
          <p:cNvPr id="7" name="TextBox 6">
            <a:hlinkClick r:id="rId6" action="ppaction://hlinksldjump"/>
            <a:extLst>
              <a:ext uri="{FF2B5EF4-FFF2-40B4-BE49-F238E27FC236}">
                <a16:creationId xmlns:a16="http://schemas.microsoft.com/office/drawing/2014/main" id="{7341A991-8A7A-401A-8CDA-094237118050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2323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74191E-4C16-44A2-BE0B-1C079961C7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  <a:p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8372231-3FA6-45EF-B540-842DD52AD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 Available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B3CD2BA6-A2AF-412B-AC56-260B8D3B3F18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52" r="1152"/>
          <a:stretch>
            <a:fillRect/>
          </a:stretch>
        </p:blipFill>
        <p:spPr>
          <a:xfrm>
            <a:off x="4798451" y="2053661"/>
            <a:ext cx="5136162" cy="3708987"/>
          </a:xfr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2974746-2124-4669-A820-779476AF32FB}"/>
              </a:ext>
            </a:extLst>
          </p:cNvPr>
          <p:cNvSpPr/>
          <p:nvPr/>
        </p:nvSpPr>
        <p:spPr>
          <a:xfrm>
            <a:off x="7058622" y="1484784"/>
            <a:ext cx="3248297" cy="301931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21490F-0309-4CC8-BF90-DDC6E54186F0}"/>
              </a:ext>
            </a:extLst>
          </p:cNvPr>
          <p:cNvSpPr txBox="1"/>
          <p:nvPr/>
        </p:nvSpPr>
        <p:spPr>
          <a:xfrm>
            <a:off x="7691666" y="3560241"/>
            <a:ext cx="2789866" cy="85299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r>
              <a:rPr lang="en-GB" sz="1400" dirty="0"/>
              <a:t>Downhole Pressure (DHP) in </a:t>
            </a:r>
            <a:r>
              <a:rPr lang="en-GB" sz="1400" dirty="0" err="1"/>
              <a:t>BarG</a:t>
            </a:r>
            <a:endParaRPr lang="en-GB" sz="1400" dirty="0"/>
          </a:p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r>
              <a:rPr lang="en-GB" sz="1400" dirty="0"/>
              <a:t>Downhole Temperature (DHT) in C</a:t>
            </a:r>
          </a:p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464996D-6148-47C8-9B26-7D1218DB1A42}"/>
              </a:ext>
            </a:extLst>
          </p:cNvPr>
          <p:cNvGrpSpPr/>
          <p:nvPr/>
        </p:nvGrpSpPr>
        <p:grpSpPr>
          <a:xfrm>
            <a:off x="695325" y="2356980"/>
            <a:ext cx="4103126" cy="1629756"/>
            <a:chOff x="997037" y="1997121"/>
            <a:chExt cx="4103126" cy="162975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C8B2171A-C179-42DC-8D8F-20351EC00B00}"/>
                </a:ext>
              </a:extLst>
            </p:cNvPr>
            <p:cNvSpPr/>
            <p:nvPr/>
          </p:nvSpPr>
          <p:spPr>
            <a:xfrm>
              <a:off x="997037" y="2736379"/>
              <a:ext cx="3248297" cy="692621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8000" indent="-288000" algn="l">
                <a:lnSpc>
                  <a:spcPct val="110000"/>
                </a:lnSpc>
                <a:spcBef>
                  <a:spcPts val="600"/>
                </a:spcBef>
                <a:buClrTx/>
                <a:buSzPct val="85000"/>
                <a:buFont typeface="Symbol" panose="05050102010706020507" pitchFamily="18" charset="2"/>
                <a:buChar char="·"/>
              </a:pPr>
              <a:endParaRPr lang="en-GB" sz="1400" dirty="0" err="1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B4E3C78-1A7F-47B1-BD77-139BF68AC2ED}"/>
                </a:ext>
              </a:extLst>
            </p:cNvPr>
            <p:cNvSpPr txBox="1"/>
            <p:nvPr/>
          </p:nvSpPr>
          <p:spPr>
            <a:xfrm>
              <a:off x="1085175" y="2765103"/>
              <a:ext cx="2839111" cy="8617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GB" sz="1400" dirty="0"/>
                <a:t>Well Head Pressure (WHP) in </a:t>
              </a:r>
              <a:r>
                <a:rPr lang="en-GB" sz="1400" dirty="0" err="1"/>
                <a:t>BarG</a:t>
              </a:r>
              <a:endParaRPr lang="en-GB" sz="1400" dirty="0"/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GB" sz="1400" dirty="0"/>
                <a:t>Well Head Temperature (WHT) in C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GB" sz="1400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A1434D6-10F7-488F-9842-EFF36E51870D}"/>
                </a:ext>
              </a:extLst>
            </p:cNvPr>
            <p:cNvSpPr/>
            <p:nvPr/>
          </p:nvSpPr>
          <p:spPr>
            <a:xfrm>
              <a:off x="3924286" y="2856035"/>
              <a:ext cx="186612" cy="190621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8000" indent="-288000" algn="l">
                <a:lnSpc>
                  <a:spcPct val="110000"/>
                </a:lnSpc>
                <a:spcBef>
                  <a:spcPts val="600"/>
                </a:spcBef>
                <a:buClrTx/>
                <a:buSzPct val="85000"/>
                <a:buFont typeface="Symbol" panose="05050102010706020507" pitchFamily="18" charset="2"/>
                <a:buChar char="·"/>
              </a:pPr>
              <a:endParaRPr lang="en-GB" sz="1400" dirty="0" err="1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84B8E7-768C-42E8-BF81-4BD83C8CFB5D}"/>
                </a:ext>
              </a:extLst>
            </p:cNvPr>
            <p:cNvSpPr/>
            <p:nvPr/>
          </p:nvSpPr>
          <p:spPr>
            <a:xfrm>
              <a:off x="3924286" y="3156328"/>
              <a:ext cx="186612" cy="190621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8000" indent="-288000" algn="l">
                <a:lnSpc>
                  <a:spcPct val="110000"/>
                </a:lnSpc>
                <a:spcBef>
                  <a:spcPts val="600"/>
                </a:spcBef>
                <a:buClrTx/>
                <a:buSzPct val="85000"/>
                <a:buFont typeface="Symbol" panose="05050102010706020507" pitchFamily="18" charset="2"/>
                <a:buChar char="·"/>
              </a:pPr>
              <a:endParaRPr lang="en-GB" sz="1400" dirty="0" err="1"/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2138E538-540F-455A-AFB9-1C723EE3951C}"/>
                </a:ext>
              </a:extLst>
            </p:cNvPr>
            <p:cNvCxnSpPr>
              <a:cxnSpLocks/>
              <a:stCxn id="2" idx="3"/>
            </p:cNvCxnSpPr>
            <p:nvPr/>
          </p:nvCxnSpPr>
          <p:spPr>
            <a:xfrm flipV="1">
              <a:off x="4245334" y="1997121"/>
              <a:ext cx="854829" cy="1085569"/>
            </a:xfrm>
            <a:prstGeom prst="straightConnector1">
              <a:avLst/>
            </a:prstGeom>
            <a:ln w="1905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5877A5E5-040B-4E96-9815-E22A793109DB}"/>
              </a:ext>
            </a:extLst>
          </p:cNvPr>
          <p:cNvSpPr/>
          <p:nvPr/>
        </p:nvSpPr>
        <p:spPr>
          <a:xfrm>
            <a:off x="7611739" y="3502968"/>
            <a:ext cx="3248297" cy="74246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EA7655A-1B4B-4065-A29A-67B23FE900C1}"/>
              </a:ext>
            </a:extLst>
          </p:cNvPr>
          <p:cNvSpPr/>
          <p:nvPr/>
        </p:nvSpPr>
        <p:spPr>
          <a:xfrm>
            <a:off x="10508144" y="3568440"/>
            <a:ext cx="186612" cy="19062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825FCD3-2764-4CB6-B4C9-B885087F7784}"/>
              </a:ext>
            </a:extLst>
          </p:cNvPr>
          <p:cNvSpPr/>
          <p:nvPr/>
        </p:nvSpPr>
        <p:spPr>
          <a:xfrm>
            <a:off x="10507945" y="3906934"/>
            <a:ext cx="186612" cy="190621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E989580E-EDCD-4B04-85E2-83230E04E97C}"/>
              </a:ext>
            </a:extLst>
          </p:cNvPr>
          <p:cNvCxnSpPr>
            <a:cxnSpLocks/>
            <a:stCxn id="25" idx="2"/>
          </p:cNvCxnSpPr>
          <p:nvPr/>
        </p:nvCxnSpPr>
        <p:spPr>
          <a:xfrm flipH="1">
            <a:off x="7526187" y="4245429"/>
            <a:ext cx="1709701" cy="979714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462DFD9D-F501-47C0-9EE2-472CC2A8668F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12D13AE-990F-4DF5-B730-0FFBB4714D0E}"/>
              </a:ext>
            </a:extLst>
          </p:cNvPr>
          <p:cNvGrpSpPr/>
          <p:nvPr/>
        </p:nvGrpSpPr>
        <p:grpSpPr>
          <a:xfrm>
            <a:off x="7611739" y="2035129"/>
            <a:ext cx="3248297" cy="418576"/>
            <a:chOff x="997036" y="4325974"/>
            <a:chExt cx="3248297" cy="418576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965E161-2C48-4119-9FAA-CBC68683421D}"/>
                </a:ext>
              </a:extLst>
            </p:cNvPr>
            <p:cNvSpPr/>
            <p:nvPr/>
          </p:nvSpPr>
          <p:spPr>
            <a:xfrm>
              <a:off x="3932960" y="4457204"/>
              <a:ext cx="186612" cy="190621"/>
            </a:xfrm>
            <a:prstGeom prst="ellipse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8000" indent="-288000" algn="l">
                <a:lnSpc>
                  <a:spcPct val="110000"/>
                </a:lnSpc>
                <a:spcBef>
                  <a:spcPts val="600"/>
                </a:spcBef>
                <a:buClrTx/>
                <a:buSzPct val="85000"/>
                <a:buFont typeface="Symbol" panose="05050102010706020507" pitchFamily="18" charset="2"/>
                <a:buChar char="·"/>
              </a:pPr>
              <a:endParaRPr lang="en-GB" sz="1400" dirty="0" err="1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B01D93C-FF84-4526-8503-54A6302E4A19}"/>
                </a:ext>
              </a:extLst>
            </p:cNvPr>
            <p:cNvSpPr txBox="1"/>
            <p:nvPr/>
          </p:nvSpPr>
          <p:spPr>
            <a:xfrm>
              <a:off x="1093606" y="4422699"/>
              <a:ext cx="2822247" cy="2251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8000" indent="-288000">
                <a:lnSpc>
                  <a:spcPct val="110000"/>
                </a:lnSpc>
                <a:spcBef>
                  <a:spcPts val="600"/>
                </a:spcBef>
                <a:buSzPct val="85000"/>
                <a:buFont typeface="Symbol" panose="05050102010706020507" pitchFamily="18" charset="2"/>
                <a:buChar char="·"/>
              </a:pPr>
              <a:r>
                <a:rPr lang="en-GB" sz="1400" dirty="0"/>
                <a:t>Production Choke (WH choke) in %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7E9E55C-652E-40CE-A271-68A7A8FA04E7}"/>
                </a:ext>
              </a:extLst>
            </p:cNvPr>
            <p:cNvSpPr/>
            <p:nvPr/>
          </p:nvSpPr>
          <p:spPr>
            <a:xfrm>
              <a:off x="997036" y="4325974"/>
              <a:ext cx="3248297" cy="418576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8000" indent="-288000" algn="l">
                <a:lnSpc>
                  <a:spcPct val="110000"/>
                </a:lnSpc>
                <a:spcBef>
                  <a:spcPts val="600"/>
                </a:spcBef>
                <a:buClrTx/>
                <a:buSzPct val="85000"/>
                <a:buFont typeface="Symbol" panose="05050102010706020507" pitchFamily="18" charset="2"/>
                <a:buChar char="·"/>
              </a:pPr>
              <a:endParaRPr lang="en-GB" sz="1400" dirty="0" err="1"/>
            </a:p>
          </p:txBody>
        </p:sp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5FBA634-8869-4136-B380-D9878A208AA6}"/>
              </a:ext>
            </a:extLst>
          </p:cNvPr>
          <p:cNvCxnSpPr>
            <a:cxnSpLocks/>
            <a:stCxn id="23" idx="1"/>
          </p:cNvCxnSpPr>
          <p:nvPr/>
        </p:nvCxnSpPr>
        <p:spPr>
          <a:xfrm flipH="1">
            <a:off x="5457217" y="2244417"/>
            <a:ext cx="2154522" cy="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 descr="Gauge">
            <a:hlinkClick r:id="rId4" action="ppaction://hlinksldjump"/>
            <a:extLst>
              <a:ext uri="{FF2B5EF4-FFF2-40B4-BE49-F238E27FC236}">
                <a16:creationId xmlns:a16="http://schemas.microsoft.com/office/drawing/2014/main" id="{375407FB-71F8-46B1-BC99-0004EEE40D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33" name="TextBox 32">
            <a:hlinkClick r:id="rId7" action="ppaction://hlinksldjump"/>
            <a:extLst>
              <a:ext uri="{FF2B5EF4-FFF2-40B4-BE49-F238E27FC236}">
                <a16:creationId xmlns:a16="http://schemas.microsoft.com/office/drawing/2014/main" id="{757A4285-A881-4A3C-A5FA-3AA754AE79C8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190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A04DFDF-5B20-4A36-9279-009200D981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FE31721-5DA5-4FE3-AC7F-783ED0352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g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966365C-52E4-46F6-9600-86653B3FD0C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1" t="5863" r="6550" b="4562"/>
          <a:stretch/>
        </p:blipFill>
        <p:spPr>
          <a:xfrm>
            <a:off x="1008237" y="1836810"/>
            <a:ext cx="10175526" cy="431721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C82A567-C7D6-4993-A7F8-585B399E3019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DE8D72-ED25-4C47-A1C4-AD178397F36C}"/>
              </a:ext>
            </a:extLst>
          </p:cNvPr>
          <p:cNvSpPr/>
          <p:nvPr/>
        </p:nvSpPr>
        <p:spPr>
          <a:xfrm>
            <a:off x="6858000" y="2255386"/>
            <a:ext cx="690664" cy="3369858"/>
          </a:xfrm>
          <a:prstGeom prst="rect">
            <a:avLst/>
          </a:prstGeom>
          <a:solidFill>
            <a:schemeClr val="accent6">
              <a:alpha val="50000"/>
            </a:schemeClr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B08E3C9-93E9-4F2F-8014-8FCCD8F84EB1}"/>
              </a:ext>
            </a:extLst>
          </p:cNvPr>
          <p:cNvSpPr/>
          <p:nvPr/>
        </p:nvSpPr>
        <p:spPr>
          <a:xfrm>
            <a:off x="7861500" y="2255386"/>
            <a:ext cx="429059" cy="3369858"/>
          </a:xfrm>
          <a:prstGeom prst="rect">
            <a:avLst/>
          </a:prstGeom>
          <a:solidFill>
            <a:schemeClr val="accent6">
              <a:alpha val="50000"/>
            </a:schemeClr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CB9E04D-B236-4785-A88B-4688F9BF3700}"/>
              </a:ext>
            </a:extLst>
          </p:cNvPr>
          <p:cNvSpPr/>
          <p:nvPr/>
        </p:nvSpPr>
        <p:spPr>
          <a:xfrm>
            <a:off x="2572512" y="2255385"/>
            <a:ext cx="429059" cy="3369858"/>
          </a:xfrm>
          <a:prstGeom prst="rect">
            <a:avLst/>
          </a:prstGeom>
          <a:solidFill>
            <a:schemeClr val="accent6">
              <a:alpha val="50000"/>
            </a:schemeClr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7871F5-B3D3-4B29-8D60-9BB77A03C603}"/>
              </a:ext>
            </a:extLst>
          </p:cNvPr>
          <p:cNvSpPr/>
          <p:nvPr/>
        </p:nvSpPr>
        <p:spPr>
          <a:xfrm>
            <a:off x="3289530" y="2255385"/>
            <a:ext cx="429059" cy="3369858"/>
          </a:xfrm>
          <a:prstGeom prst="rect">
            <a:avLst/>
          </a:prstGeom>
          <a:solidFill>
            <a:schemeClr val="accent6">
              <a:alpha val="50000"/>
            </a:schemeClr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A95B32-7FCE-4B1C-B373-688B1E0E36D4}"/>
              </a:ext>
            </a:extLst>
          </p:cNvPr>
          <p:cNvSpPr/>
          <p:nvPr/>
        </p:nvSpPr>
        <p:spPr>
          <a:xfrm>
            <a:off x="5508413" y="2255385"/>
            <a:ext cx="632569" cy="3369858"/>
          </a:xfrm>
          <a:prstGeom prst="rect">
            <a:avLst/>
          </a:prstGeom>
          <a:solidFill>
            <a:schemeClr val="accent6">
              <a:alpha val="50000"/>
            </a:schemeClr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08173E-D8E0-4FF5-9D20-FF50FD8D87C2}"/>
              </a:ext>
            </a:extLst>
          </p:cNvPr>
          <p:cNvSpPr/>
          <p:nvPr/>
        </p:nvSpPr>
        <p:spPr>
          <a:xfrm>
            <a:off x="4565846" y="2255385"/>
            <a:ext cx="270128" cy="3369858"/>
          </a:xfrm>
          <a:prstGeom prst="rect">
            <a:avLst/>
          </a:prstGeom>
          <a:solidFill>
            <a:schemeClr val="accent6">
              <a:alpha val="50000"/>
            </a:schemeClr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A3DD007-2552-414A-A840-9E355EFB650E}"/>
              </a:ext>
            </a:extLst>
          </p:cNvPr>
          <p:cNvSpPr/>
          <p:nvPr/>
        </p:nvSpPr>
        <p:spPr>
          <a:xfrm>
            <a:off x="4946803" y="2255385"/>
            <a:ext cx="270128" cy="3369858"/>
          </a:xfrm>
          <a:prstGeom prst="rect">
            <a:avLst/>
          </a:prstGeom>
          <a:solidFill>
            <a:schemeClr val="accent6">
              <a:alpha val="50000"/>
            </a:schemeClr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76381EA-7D5E-4B6D-AB34-E8A0D2737188}"/>
              </a:ext>
            </a:extLst>
          </p:cNvPr>
          <p:cNvSpPr/>
          <p:nvPr/>
        </p:nvSpPr>
        <p:spPr>
          <a:xfrm>
            <a:off x="3937209" y="2255385"/>
            <a:ext cx="270128" cy="3369858"/>
          </a:xfrm>
          <a:prstGeom prst="rect">
            <a:avLst/>
          </a:prstGeom>
          <a:solidFill>
            <a:schemeClr val="accent6">
              <a:alpha val="50000"/>
            </a:schemeClr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pic>
        <p:nvPicPr>
          <p:cNvPr id="16" name="Graphic 15" descr="Gauge">
            <a:hlinkClick r:id="rId4" action="ppaction://hlinksldjump"/>
            <a:extLst>
              <a:ext uri="{FF2B5EF4-FFF2-40B4-BE49-F238E27FC236}">
                <a16:creationId xmlns:a16="http://schemas.microsoft.com/office/drawing/2014/main" id="{7C80E2F9-85A6-4B28-A326-F53345C220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17" name="TextBox 16">
            <a:hlinkClick r:id="rId7" action="ppaction://hlinksldjump"/>
            <a:extLst>
              <a:ext uri="{FF2B5EF4-FFF2-40B4-BE49-F238E27FC236}">
                <a16:creationId xmlns:a16="http://schemas.microsoft.com/office/drawing/2014/main" id="{6C17FE1C-26D6-4A7A-B7EE-F049A198722A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50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1AB0A3E-95FE-4900-8687-31155C088B66}"/>
              </a:ext>
            </a:extLst>
          </p:cNvPr>
          <p:cNvSpPr/>
          <p:nvPr/>
        </p:nvSpPr>
        <p:spPr>
          <a:xfrm>
            <a:off x="1468877" y="2174032"/>
            <a:ext cx="9202366" cy="36604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A04DFDF-5B20-4A36-9279-009200D981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FE31721-5DA5-4FE3-AC7F-783ED0352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ugg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084247-4676-4556-B0CA-C7F3DB59E7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00766"/>
            <a:ext cx="11849878" cy="473995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B95FF46-F5BD-4068-A0CE-A66644926C6F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3CCAFA-5886-4646-9152-05DC22548CEE}"/>
              </a:ext>
            </a:extLst>
          </p:cNvPr>
          <p:cNvSpPr/>
          <p:nvPr/>
        </p:nvSpPr>
        <p:spPr>
          <a:xfrm>
            <a:off x="1877569" y="2174032"/>
            <a:ext cx="315126" cy="3648269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289448-558A-417F-9681-1F892686A3BB}"/>
              </a:ext>
            </a:extLst>
          </p:cNvPr>
          <p:cNvSpPr/>
          <p:nvPr/>
        </p:nvSpPr>
        <p:spPr>
          <a:xfrm>
            <a:off x="2515161" y="2174033"/>
            <a:ext cx="190717" cy="3648269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C52AA5-848D-4F79-9AD2-F6FE59483B41}"/>
              </a:ext>
            </a:extLst>
          </p:cNvPr>
          <p:cNvSpPr/>
          <p:nvPr/>
        </p:nvSpPr>
        <p:spPr>
          <a:xfrm>
            <a:off x="3028345" y="2149743"/>
            <a:ext cx="315126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207ECC2-1D17-4298-B98D-CAD35A42EFE2}"/>
              </a:ext>
            </a:extLst>
          </p:cNvPr>
          <p:cNvSpPr/>
          <p:nvPr/>
        </p:nvSpPr>
        <p:spPr>
          <a:xfrm>
            <a:off x="3650388" y="2149743"/>
            <a:ext cx="240477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18033BB-0408-4840-9D15-2C30FAEDF7DD}"/>
              </a:ext>
            </a:extLst>
          </p:cNvPr>
          <p:cNvSpPr/>
          <p:nvPr/>
        </p:nvSpPr>
        <p:spPr>
          <a:xfrm>
            <a:off x="4197782" y="2149743"/>
            <a:ext cx="240477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50223CD-8860-4CA5-B589-140ACFC285DB}"/>
              </a:ext>
            </a:extLst>
          </p:cNvPr>
          <p:cNvSpPr/>
          <p:nvPr/>
        </p:nvSpPr>
        <p:spPr>
          <a:xfrm>
            <a:off x="4745176" y="2149743"/>
            <a:ext cx="206268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C057269-E6BC-4AF9-9450-9174006811E6}"/>
              </a:ext>
            </a:extLst>
          </p:cNvPr>
          <p:cNvSpPr/>
          <p:nvPr/>
        </p:nvSpPr>
        <p:spPr>
          <a:xfrm>
            <a:off x="5258361" y="2149743"/>
            <a:ext cx="267171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B575A2-3A02-422B-995E-B898A5F378E2}"/>
              </a:ext>
            </a:extLst>
          </p:cNvPr>
          <p:cNvSpPr/>
          <p:nvPr/>
        </p:nvSpPr>
        <p:spPr>
          <a:xfrm>
            <a:off x="5767376" y="2174032"/>
            <a:ext cx="240477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0E31D21-A6A5-4995-85B4-843C92CA21FA}"/>
              </a:ext>
            </a:extLst>
          </p:cNvPr>
          <p:cNvSpPr/>
          <p:nvPr/>
        </p:nvSpPr>
        <p:spPr>
          <a:xfrm>
            <a:off x="6341464" y="2149743"/>
            <a:ext cx="267171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0A3796-C300-41D8-98AC-DD6072894BEA}"/>
              </a:ext>
            </a:extLst>
          </p:cNvPr>
          <p:cNvSpPr/>
          <p:nvPr/>
        </p:nvSpPr>
        <p:spPr>
          <a:xfrm>
            <a:off x="6823785" y="2149743"/>
            <a:ext cx="267171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03ABA3A-9024-4865-B702-2632543A2DAD}"/>
              </a:ext>
            </a:extLst>
          </p:cNvPr>
          <p:cNvSpPr/>
          <p:nvPr/>
        </p:nvSpPr>
        <p:spPr>
          <a:xfrm>
            <a:off x="7375349" y="2174032"/>
            <a:ext cx="315126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3B129F3-3EC0-4A9D-9B5A-861C2BB1C4C1}"/>
              </a:ext>
            </a:extLst>
          </p:cNvPr>
          <p:cNvSpPr/>
          <p:nvPr/>
        </p:nvSpPr>
        <p:spPr>
          <a:xfrm>
            <a:off x="7912604" y="2161887"/>
            <a:ext cx="186367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4291432-5D47-408F-B0E8-D91DE5F49A45}"/>
              </a:ext>
            </a:extLst>
          </p:cNvPr>
          <p:cNvSpPr/>
          <p:nvPr/>
        </p:nvSpPr>
        <p:spPr>
          <a:xfrm>
            <a:off x="8368562" y="2149743"/>
            <a:ext cx="315126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F7EBD52-CB5E-47A5-860C-F3B0BCB6991C}"/>
              </a:ext>
            </a:extLst>
          </p:cNvPr>
          <p:cNvSpPr/>
          <p:nvPr/>
        </p:nvSpPr>
        <p:spPr>
          <a:xfrm>
            <a:off x="8911788" y="2161887"/>
            <a:ext cx="251867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24DE98C-5751-43A6-AC6F-995A122067EE}"/>
              </a:ext>
            </a:extLst>
          </p:cNvPr>
          <p:cNvSpPr/>
          <p:nvPr/>
        </p:nvSpPr>
        <p:spPr>
          <a:xfrm>
            <a:off x="9455050" y="2149743"/>
            <a:ext cx="315126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F2A45D5-A4A6-4F8B-A997-1DC387490B37}"/>
              </a:ext>
            </a:extLst>
          </p:cNvPr>
          <p:cNvSpPr/>
          <p:nvPr/>
        </p:nvSpPr>
        <p:spPr>
          <a:xfrm>
            <a:off x="9976472" y="2174032"/>
            <a:ext cx="296836" cy="3672558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GB" sz="1400" dirty="0" err="1"/>
          </a:p>
        </p:txBody>
      </p:sp>
      <p:pic>
        <p:nvPicPr>
          <p:cNvPr id="29" name="Graphic 28" descr="Gauge">
            <a:hlinkClick r:id="rId3" action="ppaction://hlinksldjump"/>
            <a:extLst>
              <a:ext uri="{FF2B5EF4-FFF2-40B4-BE49-F238E27FC236}">
                <a16:creationId xmlns:a16="http://schemas.microsoft.com/office/drawing/2014/main" id="{DB25CFA7-39A7-4A0F-96B8-D3E8E25DA9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30" name="TextBox 29">
            <a:hlinkClick r:id="rId6" action="ppaction://hlinksldjump"/>
            <a:extLst>
              <a:ext uri="{FF2B5EF4-FFF2-40B4-BE49-F238E27FC236}">
                <a16:creationId xmlns:a16="http://schemas.microsoft.com/office/drawing/2014/main" id="{D6B04C06-EAF9-4627-9B1F-BDFF4E4DDA9B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739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  <p:bldP spid="12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2A82B7F-5B57-4EAC-B991-6986AEB67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bjectiv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7879313-628C-43F7-83DE-C2AFED449F7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utomated slugging detection using machine learn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7A71F5-346C-4A79-AA96-0FEE2EBC0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ctr"/>
          <a:lstStyle/>
          <a:p>
            <a:pPr marL="342900" indent="-342900">
              <a:buFont typeface="+mj-lt"/>
              <a:buAutoNum type="arabicPeriod"/>
            </a:pPr>
            <a:r>
              <a:rPr lang="en-GB" sz="1600" dirty="0"/>
              <a:t>Clean the data available 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b="1" dirty="0"/>
              <a:t>Label</a:t>
            </a:r>
            <a:r>
              <a:rPr lang="en-GB" sz="1600" dirty="0"/>
              <a:t> the individual slug peaks in the data and/or slug flow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/>
              <a:t>Train and tune model to </a:t>
            </a:r>
            <a:r>
              <a:rPr lang="en-GB" sz="1600" b="1" dirty="0"/>
              <a:t>recognize flow behaviours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/>
              <a:t>Train and tune model on </a:t>
            </a:r>
            <a:r>
              <a:rPr lang="en-GB" sz="1600" b="1" dirty="0"/>
              <a:t>slug detection </a:t>
            </a:r>
            <a:r>
              <a:rPr lang="en-GB" sz="1600" dirty="0"/>
              <a:t>based on pre-slug flow and normal flow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/>
              <a:t>Train and tune model to </a:t>
            </a:r>
            <a:r>
              <a:rPr lang="en-GB" sz="1600" b="1" dirty="0"/>
              <a:t>forecast slug flow</a:t>
            </a:r>
          </a:p>
        </p:txBody>
      </p:sp>
      <p:pic>
        <p:nvPicPr>
          <p:cNvPr id="9" name="Picture Placeholder 7">
            <a:extLst>
              <a:ext uri="{FF2B5EF4-FFF2-40B4-BE49-F238E27FC236}">
                <a16:creationId xmlns:a16="http://schemas.microsoft.com/office/drawing/2014/main" id="{0D1770D1-4E5E-4F00-A8B9-E5FFECB8F46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5" r="9675"/>
          <a:stretch>
            <a:fillRect/>
          </a:stretch>
        </p:blipFill>
        <p:spPr>
          <a:xfrm>
            <a:off x="6708775" y="2600325"/>
            <a:ext cx="4787900" cy="3457575"/>
          </a:xfrm>
          <a:ln w="12700">
            <a:solidFill>
              <a:schemeClr val="accent3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C1D80FC-1E08-4D1F-AEBE-6CC0EDA8C2EE}"/>
              </a:ext>
            </a:extLst>
          </p:cNvPr>
          <p:cNvSpPr txBox="1"/>
          <p:nvPr/>
        </p:nvSpPr>
        <p:spPr>
          <a:xfrm>
            <a:off x="5525532" y="6274339"/>
            <a:ext cx="11397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10</a:t>
            </a:r>
            <a:r>
              <a:rPr lang="en-GB" sz="900" baseline="30000" dirty="0">
                <a:solidFill>
                  <a:schemeClr val="tx2"/>
                </a:solidFill>
              </a:rPr>
              <a:t>th</a:t>
            </a:r>
            <a:r>
              <a:rPr lang="en-GB" sz="900" dirty="0">
                <a:solidFill>
                  <a:schemeClr val="tx2"/>
                </a:solidFill>
              </a:rPr>
              <a:t> September 2019</a:t>
            </a:r>
          </a:p>
          <a:p>
            <a:pPr algn="ctr">
              <a:buSzPct val="85000"/>
            </a:pPr>
            <a:r>
              <a:rPr lang="en-GB" sz="900" dirty="0">
                <a:solidFill>
                  <a:schemeClr val="tx2"/>
                </a:solidFill>
              </a:rPr>
              <a:t>Imperial College London</a:t>
            </a:r>
          </a:p>
        </p:txBody>
      </p:sp>
      <p:pic>
        <p:nvPicPr>
          <p:cNvPr id="11" name="Graphic 10" descr="Gauge">
            <a:hlinkClick r:id="rId3" action="ppaction://hlinksldjump"/>
            <a:extLst>
              <a:ext uri="{FF2B5EF4-FFF2-40B4-BE49-F238E27FC236}">
                <a16:creationId xmlns:a16="http://schemas.microsoft.com/office/drawing/2014/main" id="{94C3D5BF-103C-4E48-85F7-D280A591E2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2523" y="6069564"/>
            <a:ext cx="914400" cy="914400"/>
          </a:xfrm>
          <a:prstGeom prst="rect">
            <a:avLst/>
          </a:prstGeom>
        </p:spPr>
      </p:pic>
      <p:sp>
        <p:nvSpPr>
          <p:cNvPr id="12" name="TextBox 11">
            <a:hlinkClick r:id="rId6" action="ppaction://hlinksldjump"/>
            <a:extLst>
              <a:ext uri="{FF2B5EF4-FFF2-40B4-BE49-F238E27FC236}">
                <a16:creationId xmlns:a16="http://schemas.microsoft.com/office/drawing/2014/main" id="{AC2D7EC7-A2B7-4277-A40E-67CF67D6C62B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921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49B9E33-082E-497D-9655-0A3C8C7798C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75A739-CF6B-42EA-9FCE-2CA3CF5DA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CKAGE Descrip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8110ED-25BA-4A55-A7D1-039132C703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6694278-F419-48F7-8196-A9B3D24D7E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9AE74D2-845E-4EE3-A5B4-6B9B282257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Box 6">
            <a:hlinkClick r:id="rId2" action="ppaction://hlinksldjump"/>
            <a:extLst>
              <a:ext uri="{FF2B5EF4-FFF2-40B4-BE49-F238E27FC236}">
                <a16:creationId xmlns:a16="http://schemas.microsoft.com/office/drawing/2014/main" id="{BAE352E3-EAFF-4462-9FBC-5C5587568155}"/>
              </a:ext>
            </a:extLst>
          </p:cNvPr>
          <p:cNvSpPr txBox="1"/>
          <p:nvPr/>
        </p:nvSpPr>
        <p:spPr>
          <a:xfrm>
            <a:off x="5819953" y="340598"/>
            <a:ext cx="550506" cy="43853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endParaRPr lang="en-GB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240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BASF_CONVERTED_TO_TAGS" val="1"/>
  <p:tag name="_WIZ_TASKPANE_VISIBLE" val="0"/>
  <p:tag name="_WIZ_TASKPANE_WIDTH" val="350"/>
  <p:tag name="_TP_ICONS_VISIBLE" val="0"/>
  <p:tag name="_TP_ICONS_WIDTH" val="27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h7TbLmRuml.apNmBVl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WMkuTURgqUbzOMwtfa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LYXKmTRWGlr5XVzoft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JlaLCSTSt3DVHqoIf1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wiVbcDRne5NJ8n_i8_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hJC.wSRrCISUxzKquU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Je0m0vQH.KUW02Kuw0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Xe9iIVR2e9_QJSsAb12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Kk0NeTsuVmG0GjbvOe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lX40LkRjOHGTjER3aa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9Nr7IiQRewc4uAo022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NtZMbBQYqZD536AOiv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wNL3dnQ7q.G0mGD7dM_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Bj7auZSjSrkTZffHW2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mYHz2XT76n1tjq.BKP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xq.YMPQYSozjnX6XOm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VGFhnESaGuJmLmvG.M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AfwZDhS6GcJYCewNJT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5rhtIR.Gx7wFvbIrKTg"/>
</p:tagLst>
</file>

<file path=ppt/theme/theme1.xml><?xml version="1.0" encoding="utf-8"?>
<a:theme xmlns:a="http://schemas.openxmlformats.org/drawingml/2006/main" name="wintershall dea 16:9 EN">
  <a:themeElements>
    <a:clrScheme name="wintershall dea 2019">
      <a:dk1>
        <a:srgbClr val="000000"/>
      </a:dk1>
      <a:lt1>
        <a:srgbClr val="FFFFFF"/>
      </a:lt1>
      <a:dk2>
        <a:srgbClr val="434345"/>
      </a:dk2>
      <a:lt2>
        <a:srgbClr val="F0F3F7"/>
      </a:lt2>
      <a:accent1>
        <a:srgbClr val="012855"/>
      </a:accent1>
      <a:accent2>
        <a:srgbClr val="019CB2"/>
      </a:accent2>
      <a:accent3>
        <a:srgbClr val="72C3EE"/>
      </a:accent3>
      <a:accent4>
        <a:srgbClr val="2CAD71"/>
      </a:accent4>
      <a:accent5>
        <a:srgbClr val="DDDC02"/>
      </a:accent5>
      <a:accent6>
        <a:srgbClr val="E84249"/>
      </a:accent6>
      <a:hlink>
        <a:srgbClr val="012855"/>
      </a:hlink>
      <a:folHlink>
        <a:srgbClr val="434345"/>
      </a:folHlink>
    </a:clrScheme>
    <a:fontScheme name="wintershall dea 2019">
      <a:majorFont>
        <a:latin typeface="WintershallDea"/>
        <a:ea typeface=""/>
        <a:cs typeface=""/>
      </a:majorFont>
      <a:minorFont>
        <a:latin typeface="WintershallDe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8000" indent="-288000" algn="l">
          <a:lnSpc>
            <a:spcPct val="110000"/>
          </a:lnSpc>
          <a:spcBef>
            <a:spcPts val="600"/>
          </a:spcBef>
          <a:buClrTx/>
          <a:buSzPct val="85000"/>
          <a:buFont typeface="Symbol" panose="05050102010706020507" pitchFamily="18" charset="2"/>
          <a:buChar char="·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8000" indent="-288000">
          <a:lnSpc>
            <a:spcPct val="110000"/>
          </a:lnSpc>
          <a:spcBef>
            <a:spcPts val="600"/>
          </a:spcBef>
          <a:buSzPct val="85000"/>
          <a:buFont typeface="Symbol" panose="05050102010706020507" pitchFamily="18" charset="2"/>
          <a:buChar char="·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D_PPT-Template_16_9_EN_scr02.potx" id="{21E6D54F-A7F4-4702-A494-156D744C652E}" vid="{6AAF5660-70DE-4436-BEB3-2AE335A26EB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D6AEFD946E85C49905435EDFEF90DF0" ma:contentTypeVersion="5" ma:contentTypeDescription="Ein neues Dokument erstellen." ma:contentTypeScope="" ma:versionID="06a76c323a021b901b32cf752bc77a27">
  <xsd:schema xmlns:xsd="http://www.w3.org/2001/XMLSchema" xmlns:xs="http://www.w3.org/2001/XMLSchema" xmlns:p="http://schemas.microsoft.com/office/2006/metadata/properties" xmlns:ns3="a2432a3f-a923-494c-a5b7-7c6a25641472" xmlns:ns4="46206f74-ff5e-49f2-beca-40c01ad57a4a" targetNamespace="http://schemas.microsoft.com/office/2006/metadata/properties" ma:root="true" ma:fieldsID="5d745f1edab9ce34da7910c75e854480" ns3:_="" ns4:_="">
    <xsd:import namespace="a2432a3f-a923-494c-a5b7-7c6a25641472"/>
    <xsd:import namespace="46206f74-ff5e-49f2-beca-40c01ad57a4a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432a3f-a923-494c-a5b7-7c6a2564147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206f74-ff5e-49f2-beca-40c01ad57a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354B356-BE20-4BFF-A0AC-3B5FC6F4A4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5093524-CCB3-4CBD-BA5C-C5A30EB813B5}">
  <ds:schemaRefs>
    <ds:schemaRef ds:uri="http://purl.org/dc/elements/1.1/"/>
    <ds:schemaRef ds:uri="46206f74-ff5e-49f2-beca-40c01ad57a4a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a2432a3f-a923-494c-a5b7-7c6a2564147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DE4B47B-D72B-41EB-9F70-401F613233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432a3f-a923-494c-a5b7-7c6a25641472"/>
    <ds:schemaRef ds:uri="46206f74-ff5e-49f2-beca-40c01ad57a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D_PPT-Template_16_9_EN</Template>
  <TotalTime>0</TotalTime>
  <Words>1523</Words>
  <Application>Microsoft Office PowerPoint</Application>
  <PresentationFormat>Widescreen</PresentationFormat>
  <Paragraphs>366</Paragraphs>
  <Slides>41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1</vt:i4>
      </vt:variant>
    </vt:vector>
  </HeadingPairs>
  <TitlesOfParts>
    <vt:vector size="52" baseType="lpstr">
      <vt:lpstr>Arial</vt:lpstr>
      <vt:lpstr>Calibri</vt:lpstr>
      <vt:lpstr>Courier New</vt:lpstr>
      <vt:lpstr>Symbol</vt:lpstr>
      <vt:lpstr>Volte Rounded Medium</vt:lpstr>
      <vt:lpstr>Wingdings</vt:lpstr>
      <vt:lpstr>WintershallDea</vt:lpstr>
      <vt:lpstr>WintershallDea-Medium</vt:lpstr>
      <vt:lpstr>wintershall dea 16:9 EN</vt:lpstr>
      <vt:lpstr>think-cell Folie</vt:lpstr>
      <vt:lpstr>think-cell Slide</vt:lpstr>
      <vt:lpstr>Automated slugging detection using machine learning</vt:lpstr>
      <vt:lpstr>Agenda</vt:lpstr>
      <vt:lpstr>Project Overview &amp; Objectives</vt:lpstr>
      <vt:lpstr>Offshore wells and Slugging</vt:lpstr>
      <vt:lpstr>Data Available</vt:lpstr>
      <vt:lpstr>Slugging</vt:lpstr>
      <vt:lpstr>Slugging</vt:lpstr>
      <vt:lpstr>Objectives</vt:lpstr>
      <vt:lpstr>PACKAGE Description</vt:lpstr>
      <vt:lpstr>Slug detection  python package</vt:lpstr>
      <vt:lpstr>Data engineering</vt:lpstr>
      <vt:lpstr>Slug Detection Python Package BUILD</vt:lpstr>
      <vt:lpstr>Slug Labelling</vt:lpstr>
      <vt:lpstr>Slug Labelling Results</vt:lpstr>
      <vt:lpstr>FLOW RECOGNITION</vt:lpstr>
      <vt:lpstr>Flow Recognition Results</vt:lpstr>
      <vt:lpstr>Slug Detection</vt:lpstr>
      <vt:lpstr>SLUG DETECTION Results - SLUG LABELLING</vt:lpstr>
      <vt:lpstr>SLUG DETECTION – INTERVAL LABELLING</vt:lpstr>
      <vt:lpstr>SLUG DETECTION RESULTS - INTERVAL LABELLING</vt:lpstr>
      <vt:lpstr>SLUG DETECTION – FEATURE ENGINEERING</vt:lpstr>
      <vt:lpstr>SLUG DETECTION – FEATURE ENGINEERING</vt:lpstr>
      <vt:lpstr>SLUG DETECTION – FEATURE ENGINEERING</vt:lpstr>
      <vt:lpstr>SLUG DETECTION RESULTS</vt:lpstr>
      <vt:lpstr>Slug FORECASTING</vt:lpstr>
      <vt:lpstr>Slug FORECASTING RESULTS</vt:lpstr>
      <vt:lpstr>Slug FORECASTING RESULTS</vt:lpstr>
      <vt:lpstr>Slug FORECASTING RESULTS – Error metrics</vt:lpstr>
      <vt:lpstr>conclusion</vt:lpstr>
      <vt:lpstr>conclusion</vt:lpstr>
      <vt:lpstr>Thank you for listening Questions?</vt:lpstr>
      <vt:lpstr>PowerPoint Presentation</vt:lpstr>
      <vt:lpstr>Machine Learning Models</vt:lpstr>
      <vt:lpstr>Machine Learning Models</vt:lpstr>
      <vt:lpstr>Flow Recognition Results</vt:lpstr>
      <vt:lpstr>SLUG DETECTION – DATA LABELLING</vt:lpstr>
      <vt:lpstr>SLUG DETECTION Results (SLUG LABELLING)</vt:lpstr>
      <vt:lpstr>TRAINING AND TUNING SLUG DETECTION</vt:lpstr>
      <vt:lpstr>ARIMA PARAMATER SELECTION</vt:lpstr>
      <vt:lpstr>ARIMA PARAMATER SELECTION</vt:lpstr>
      <vt:lpstr>ARIMA Limit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ed slugging detection using machine learning</dc:title>
  <dc:creator>Deirdree Polak</dc:creator>
  <cp:lastModifiedBy>Deirdree Polak</cp:lastModifiedBy>
  <cp:revision>69</cp:revision>
  <dcterms:created xsi:type="dcterms:W3CDTF">2019-09-02T07:38:50Z</dcterms:created>
  <dcterms:modified xsi:type="dcterms:W3CDTF">2019-09-11T09:0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6AEFD946E85C49905435EDFEF90DF0</vt:lpwstr>
  </property>
  <property fmtid="{D5CDD505-2E9C-101B-9397-08002B2CF9AE}" pid="3" name="Classification_to_AIP">
    <vt:i4>0</vt:i4>
  </property>
</Properties>
</file>